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66" r:id="rId1"/>
    <p:sldMasterId id="2147483679" r:id="rId2"/>
  </p:sldMasterIdLst>
  <p:notesMasterIdLst>
    <p:notesMasterId r:id="rId32"/>
  </p:notesMasterIdLst>
  <p:sldIdLst>
    <p:sldId id="270" r:id="rId3"/>
    <p:sldId id="317" r:id="rId4"/>
    <p:sldId id="323" r:id="rId5"/>
    <p:sldId id="350" r:id="rId6"/>
    <p:sldId id="349" r:id="rId7"/>
    <p:sldId id="319" r:id="rId8"/>
    <p:sldId id="269" r:id="rId9"/>
    <p:sldId id="3371" r:id="rId10"/>
    <p:sldId id="3363" r:id="rId11"/>
    <p:sldId id="316" r:id="rId12"/>
    <p:sldId id="320" r:id="rId13"/>
    <p:sldId id="3366" r:id="rId14"/>
    <p:sldId id="3375" r:id="rId15"/>
    <p:sldId id="3364" r:id="rId16"/>
    <p:sldId id="3367" r:id="rId17"/>
    <p:sldId id="3372" r:id="rId18"/>
    <p:sldId id="3376" r:id="rId19"/>
    <p:sldId id="324" r:id="rId20"/>
    <p:sldId id="3365" r:id="rId21"/>
    <p:sldId id="3369" r:id="rId22"/>
    <p:sldId id="3377" r:id="rId23"/>
    <p:sldId id="3378" r:id="rId24"/>
    <p:sldId id="3368" r:id="rId25"/>
    <p:sldId id="3370" r:id="rId26"/>
    <p:sldId id="3374" r:id="rId27"/>
    <p:sldId id="325" r:id="rId28"/>
    <p:sldId id="337" r:id="rId29"/>
    <p:sldId id="340" r:id="rId30"/>
    <p:sldId id="326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57291D0-FED4-F945-AE3B-29B152D79192}">
          <p14:sldIdLst>
            <p14:sldId id="270"/>
            <p14:sldId id="317"/>
            <p14:sldId id="323"/>
          </p14:sldIdLst>
        </p14:section>
        <p14:section name="Business Problem, Scope and Executive Summary" id="{D6048F32-3C70-4C54-9523-769FBC168FE8}">
          <p14:sldIdLst>
            <p14:sldId id="350"/>
            <p14:sldId id="349"/>
            <p14:sldId id="319"/>
            <p14:sldId id="269"/>
            <p14:sldId id="3371"/>
            <p14:sldId id="3363"/>
            <p14:sldId id="316"/>
          </p14:sldIdLst>
        </p14:section>
        <p14:section name="Data &amp; Methodology" id="{D85ABEA6-BC07-4EFE-96BC-635D4D5B06D6}">
          <p14:sldIdLst>
            <p14:sldId id="320"/>
            <p14:sldId id="3366"/>
            <p14:sldId id="3375"/>
            <p14:sldId id="3364"/>
            <p14:sldId id="3367"/>
            <p14:sldId id="3372"/>
            <p14:sldId id="3376"/>
          </p14:sldIdLst>
        </p14:section>
        <p14:section name="Analysis" id="{FF697F43-F6B1-4190-9C67-2D3447E7A016}">
          <p14:sldIdLst>
            <p14:sldId id="324"/>
            <p14:sldId id="3365"/>
            <p14:sldId id="3369"/>
            <p14:sldId id="3377"/>
            <p14:sldId id="3378"/>
            <p14:sldId id="3368"/>
            <p14:sldId id="3370"/>
            <p14:sldId id="3374"/>
          </p14:sldIdLst>
        </p14:section>
        <p14:section name="Savings, Conslusion and Recommendation" id="{4A428900-0DB6-4FB4-B7EE-B77BA69EB8BE}">
          <p14:sldIdLst>
            <p14:sldId id="325"/>
            <p14:sldId id="337"/>
            <p14:sldId id="340"/>
            <p14:sldId id="32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F99F2"/>
    <a:srgbClr val="548123"/>
    <a:srgbClr val="4A66AC"/>
    <a:srgbClr val="FB5933"/>
    <a:srgbClr val="FDA691"/>
    <a:srgbClr val="6C8DFF"/>
    <a:srgbClr val="F1F1F1"/>
    <a:srgbClr val="011893"/>
    <a:srgbClr val="0432FF"/>
    <a:srgbClr val="005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94639D-7478-4CDA-A9EA-3162EB166B94}" v="2" dt="2023-01-13T23:45:38.584"/>
    <p1510:client id="{0F203442-E693-4AB6-9C46-1D3CABD1EC9D}" v="244" dt="2022-12-07T20:54:51.680"/>
    <p1510:client id="{1BD42CCB-4B61-4B65-8FB9-4856D6A38FC8}" v="2427" dt="2022-12-08T03:50:44.372"/>
    <p1510:client id="{29A07FE8-AC6F-E040-96AB-4439A12A29B0}" v="176" vWet="177" dt="2022-12-07T18:11:11.024"/>
    <p1510:client id="{2A597D4A-2C0C-4B8E-8C1A-2D38E38D3172}" v="18" dt="2022-12-07T19:31:59.169"/>
    <p1510:client id="{9EC0C7DA-8902-45DC-8ABA-21C4AD70A3AC}" v="39" dt="2022-12-07T21:00:18.563"/>
    <p1510:client id="{A24AC726-8001-AB44-9EE7-5A675177A1A9}" v="1901" dt="2022-12-07T22:42:40.216"/>
    <p1510:client id="{B04C4469-9970-4142-93F7-37FA29CD1BBC}" v="841" dt="2022-12-07T20:44:19.526"/>
    <p1510:client id="{CA38AEBD-8C21-A64C-A2DD-6E0501B4A766}" v="1231" vWet="1250" dt="2022-12-07T22:22:03.234"/>
    <p1510:client id="{CC386F7A-D01D-4DB6-B1FE-8B34808E298C}" v="449" dt="2022-12-07T19:22:31.3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116" y="3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illa, Madhulika" userId="S::mchilla@purdue.edu::27d09bd1-4f8e-4e55-a7d7-b8657c31648a" providerId="AD" clId="Web-{0594639D-7478-4CDA-A9EA-3162EB166B94}"/>
    <pc:docChg chg="addSld delSld modSection">
      <pc:chgData name="Chilla, Madhulika" userId="S::mchilla@purdue.edu::27d09bd1-4f8e-4e55-a7d7-b8657c31648a" providerId="AD" clId="Web-{0594639D-7478-4CDA-A9EA-3162EB166B94}" dt="2023-01-13T23:45:38.584" v="1"/>
      <pc:docMkLst>
        <pc:docMk/>
      </pc:docMkLst>
      <pc:sldChg chg="new del">
        <pc:chgData name="Chilla, Madhulika" userId="S::mchilla@purdue.edu::27d09bd1-4f8e-4e55-a7d7-b8657c31648a" providerId="AD" clId="Web-{0594639D-7478-4CDA-A9EA-3162EB166B94}" dt="2023-01-13T23:45:38.584" v="1"/>
        <pc:sldMkLst>
          <pc:docMk/>
          <pc:sldMk cId="2149777642" sldId="3379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purdue0-my.sharepoint.com/personal/shethp_purdue_edu/Documents/Microsoft%20Teams%20Chat%20Files/Merged_excel_Fina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purdue0-my.sharepoint.com/personal/shethp_purdue_edu/Documents/Microsoft%20Teams%20Chat%20Files/Merged_excel_Fina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# Records by Subcategor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O$1</c:f>
              <c:strCache>
                <c:ptCount val="1"/>
                <c:pt idx="0">
                  <c:v>C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4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07E-43A2-9B20-9C6A70D84276}"/>
              </c:ext>
            </c:extLst>
          </c:dPt>
          <c:dPt>
            <c:idx val="4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07E-43A2-9B20-9C6A70D8427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N$2:$N$28</c:f>
              <c:strCache>
                <c:ptCount val="27"/>
                <c:pt idx="0">
                  <c:v>Others</c:v>
                </c:pt>
                <c:pt idx="1">
                  <c:v>general</c:v>
                </c:pt>
                <c:pt idx="2">
                  <c:v>cars+trucks</c:v>
                </c:pt>
                <c:pt idx="3">
                  <c:v>beauty+hlth</c:v>
                </c:pt>
                <c:pt idx="4">
                  <c:v>auto parts</c:v>
                </c:pt>
                <c:pt idx="5">
                  <c:v>appliances</c:v>
                </c:pt>
                <c:pt idx="6">
                  <c:v>arts+crafts</c:v>
                </c:pt>
                <c:pt idx="7">
                  <c:v>antiques</c:v>
                </c:pt>
                <c:pt idx="8">
                  <c:v>atv/utv/sno</c:v>
                </c:pt>
                <c:pt idx="9">
                  <c:v>baby+kid</c:v>
                </c:pt>
                <c:pt idx="10">
                  <c:v>boat parts</c:v>
                </c:pt>
                <c:pt idx="11">
                  <c:v>boats</c:v>
                </c:pt>
                <c:pt idx="12">
                  <c:v>barter</c:v>
                </c:pt>
                <c:pt idx="13">
                  <c:v>bikes</c:v>
                </c:pt>
                <c:pt idx="14">
                  <c:v>trailers</c:v>
                </c:pt>
                <c:pt idx="15">
                  <c:v>sporting</c:v>
                </c:pt>
                <c:pt idx="16">
                  <c:v>bike parts</c:v>
                </c:pt>
                <c:pt idx="17">
                  <c:v>farm+garden</c:v>
                </c:pt>
                <c:pt idx="18">
                  <c:v>books</c:v>
                </c:pt>
                <c:pt idx="19">
                  <c:v>furniture</c:v>
                </c:pt>
                <c:pt idx="20">
                  <c:v>business</c:v>
                </c:pt>
                <c:pt idx="21">
                  <c:v>music instr</c:v>
                </c:pt>
                <c:pt idx="22">
                  <c:v>household</c:v>
                </c:pt>
                <c:pt idx="23">
                  <c:v>toys+games</c:v>
                </c:pt>
                <c:pt idx="24">
                  <c:v>materials</c:v>
                </c:pt>
                <c:pt idx="25">
                  <c:v>wheels+tires</c:v>
                </c:pt>
                <c:pt idx="26">
                  <c:v>collectibles</c:v>
                </c:pt>
              </c:strCache>
            </c:strRef>
          </c:cat>
          <c:val>
            <c:numRef>
              <c:f>Sheet1!$O$2:$O$28</c:f>
              <c:numCache>
                <c:formatCode>General</c:formatCode>
                <c:ptCount val="27"/>
                <c:pt idx="0">
                  <c:v>2821</c:v>
                </c:pt>
                <c:pt idx="1">
                  <c:v>1846</c:v>
                </c:pt>
                <c:pt idx="2">
                  <c:v>1133</c:v>
                </c:pt>
                <c:pt idx="3">
                  <c:v>558</c:v>
                </c:pt>
                <c:pt idx="4">
                  <c:v>420</c:v>
                </c:pt>
                <c:pt idx="5">
                  <c:v>386</c:v>
                </c:pt>
                <c:pt idx="6">
                  <c:v>363</c:v>
                </c:pt>
                <c:pt idx="7">
                  <c:v>351</c:v>
                </c:pt>
                <c:pt idx="8">
                  <c:v>337</c:v>
                </c:pt>
                <c:pt idx="9">
                  <c:v>333</c:v>
                </c:pt>
                <c:pt idx="10">
                  <c:v>227</c:v>
                </c:pt>
                <c:pt idx="11">
                  <c:v>225</c:v>
                </c:pt>
                <c:pt idx="12">
                  <c:v>222</c:v>
                </c:pt>
                <c:pt idx="13">
                  <c:v>219</c:v>
                </c:pt>
                <c:pt idx="14">
                  <c:v>212</c:v>
                </c:pt>
                <c:pt idx="15">
                  <c:v>211</c:v>
                </c:pt>
                <c:pt idx="16">
                  <c:v>208</c:v>
                </c:pt>
                <c:pt idx="17">
                  <c:v>207</c:v>
                </c:pt>
                <c:pt idx="18">
                  <c:v>203</c:v>
                </c:pt>
                <c:pt idx="19">
                  <c:v>202</c:v>
                </c:pt>
                <c:pt idx="20">
                  <c:v>201</c:v>
                </c:pt>
                <c:pt idx="21">
                  <c:v>198</c:v>
                </c:pt>
                <c:pt idx="22">
                  <c:v>194</c:v>
                </c:pt>
                <c:pt idx="23">
                  <c:v>192</c:v>
                </c:pt>
                <c:pt idx="24">
                  <c:v>192</c:v>
                </c:pt>
                <c:pt idx="25">
                  <c:v>191</c:v>
                </c:pt>
                <c:pt idx="26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07E-43A2-9B20-9C6A70D8427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618817952"/>
        <c:axId val="618819600"/>
      </c:barChart>
      <c:catAx>
        <c:axId val="618817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8819600"/>
        <c:crosses val="autoZero"/>
        <c:auto val="1"/>
        <c:lblAlgn val="ctr"/>
        <c:lblOffset val="100"/>
        <c:noMultiLvlLbl val="0"/>
      </c:catAx>
      <c:valAx>
        <c:axId val="618819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8817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ength of descrip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L$1</c:f>
              <c:strCache>
                <c:ptCount val="1"/>
                <c:pt idx="0">
                  <c:v>beauty+hlt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K$2:$AK$22</c:f>
              <c:strCache>
                <c:ptCount val="21"/>
                <c:pt idx="0">
                  <c:v>0-199</c:v>
                </c:pt>
                <c:pt idx="1">
                  <c:v>200-399</c:v>
                </c:pt>
                <c:pt idx="2">
                  <c:v>400-599</c:v>
                </c:pt>
                <c:pt idx="3">
                  <c:v>600-799</c:v>
                </c:pt>
                <c:pt idx="4">
                  <c:v>800-999</c:v>
                </c:pt>
                <c:pt idx="5">
                  <c:v>1000-1199</c:v>
                </c:pt>
                <c:pt idx="6">
                  <c:v>1200-1399</c:v>
                </c:pt>
                <c:pt idx="7">
                  <c:v>1400-1599</c:v>
                </c:pt>
                <c:pt idx="8">
                  <c:v>1600-1799</c:v>
                </c:pt>
                <c:pt idx="9">
                  <c:v>1800-1999</c:v>
                </c:pt>
                <c:pt idx="10">
                  <c:v>2000-2199</c:v>
                </c:pt>
                <c:pt idx="11">
                  <c:v>2200-2399</c:v>
                </c:pt>
                <c:pt idx="12">
                  <c:v>2400-2599</c:v>
                </c:pt>
                <c:pt idx="13">
                  <c:v>2600-2799</c:v>
                </c:pt>
                <c:pt idx="14">
                  <c:v>2800-2999</c:v>
                </c:pt>
                <c:pt idx="15">
                  <c:v>3000-3199</c:v>
                </c:pt>
                <c:pt idx="16">
                  <c:v>3200-3399</c:v>
                </c:pt>
                <c:pt idx="17">
                  <c:v>3400-3599</c:v>
                </c:pt>
                <c:pt idx="18">
                  <c:v>3600-3799</c:v>
                </c:pt>
                <c:pt idx="19">
                  <c:v>3800-4000</c:v>
                </c:pt>
                <c:pt idx="20">
                  <c:v>&gt;4000</c:v>
                </c:pt>
              </c:strCache>
            </c:strRef>
          </c:cat>
          <c:val>
            <c:numRef>
              <c:f>Sheet1!$AL$2:$AL$22</c:f>
              <c:numCache>
                <c:formatCode>0%</c:formatCode>
                <c:ptCount val="21"/>
                <c:pt idx="0">
                  <c:v>0.532258064516129</c:v>
                </c:pt>
                <c:pt idx="1">
                  <c:v>0.23835125448028674</c:v>
                </c:pt>
                <c:pt idx="2">
                  <c:v>6.9892473118279563E-2</c:v>
                </c:pt>
                <c:pt idx="3">
                  <c:v>3.2258064516129031E-2</c:v>
                </c:pt>
                <c:pt idx="4">
                  <c:v>5.3763440860215058E-3</c:v>
                </c:pt>
                <c:pt idx="5">
                  <c:v>3.5842293906810036E-3</c:v>
                </c:pt>
                <c:pt idx="6">
                  <c:v>7.1684587813620072E-3</c:v>
                </c:pt>
                <c:pt idx="7">
                  <c:v>1.0752688172043012E-2</c:v>
                </c:pt>
                <c:pt idx="8">
                  <c:v>1.7921146953405018E-3</c:v>
                </c:pt>
                <c:pt idx="9">
                  <c:v>5.3763440860215058E-3</c:v>
                </c:pt>
                <c:pt idx="10">
                  <c:v>3.5842293906810036E-3</c:v>
                </c:pt>
                <c:pt idx="11">
                  <c:v>0</c:v>
                </c:pt>
                <c:pt idx="12">
                  <c:v>5.3763440860215058E-3</c:v>
                </c:pt>
                <c:pt idx="13">
                  <c:v>3.5842293906810036E-3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6.9892473118279563E-2</c:v>
                </c:pt>
                <c:pt idx="18">
                  <c:v>0</c:v>
                </c:pt>
                <c:pt idx="19">
                  <c:v>0</c:v>
                </c:pt>
                <c:pt idx="20">
                  <c:v>1.07526881720430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3D-4BB4-BFF8-DA78BAF5B4CB}"/>
            </c:ext>
          </c:extLst>
        </c:ser>
        <c:ser>
          <c:idx val="1"/>
          <c:order val="1"/>
          <c:tx>
            <c:strRef>
              <c:f>Sheet1!$AM$1</c:f>
              <c:strCache>
                <c:ptCount val="1"/>
                <c:pt idx="0">
                  <c:v>cars+truck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K$2:$AK$22</c:f>
              <c:strCache>
                <c:ptCount val="21"/>
                <c:pt idx="0">
                  <c:v>0-199</c:v>
                </c:pt>
                <c:pt idx="1">
                  <c:v>200-399</c:v>
                </c:pt>
                <c:pt idx="2">
                  <c:v>400-599</c:v>
                </c:pt>
                <c:pt idx="3">
                  <c:v>600-799</c:v>
                </c:pt>
                <c:pt idx="4">
                  <c:v>800-999</c:v>
                </c:pt>
                <c:pt idx="5">
                  <c:v>1000-1199</c:v>
                </c:pt>
                <c:pt idx="6">
                  <c:v>1200-1399</c:v>
                </c:pt>
                <c:pt idx="7">
                  <c:v>1400-1599</c:v>
                </c:pt>
                <c:pt idx="8">
                  <c:v>1600-1799</c:v>
                </c:pt>
                <c:pt idx="9">
                  <c:v>1800-1999</c:v>
                </c:pt>
                <c:pt idx="10">
                  <c:v>2000-2199</c:v>
                </c:pt>
                <c:pt idx="11">
                  <c:v>2200-2399</c:v>
                </c:pt>
                <c:pt idx="12">
                  <c:v>2400-2599</c:v>
                </c:pt>
                <c:pt idx="13">
                  <c:v>2600-2799</c:v>
                </c:pt>
                <c:pt idx="14">
                  <c:v>2800-2999</c:v>
                </c:pt>
                <c:pt idx="15">
                  <c:v>3000-3199</c:v>
                </c:pt>
                <c:pt idx="16">
                  <c:v>3200-3399</c:v>
                </c:pt>
                <c:pt idx="17">
                  <c:v>3400-3599</c:v>
                </c:pt>
                <c:pt idx="18">
                  <c:v>3600-3799</c:v>
                </c:pt>
                <c:pt idx="19">
                  <c:v>3800-4000</c:v>
                </c:pt>
                <c:pt idx="20">
                  <c:v>&gt;4000</c:v>
                </c:pt>
              </c:strCache>
            </c:strRef>
          </c:cat>
          <c:val>
            <c:numRef>
              <c:f>Sheet1!$AM$2:$AM$22</c:f>
              <c:numCache>
                <c:formatCode>0%</c:formatCode>
                <c:ptCount val="21"/>
                <c:pt idx="0">
                  <c:v>0.12797881729920565</c:v>
                </c:pt>
                <c:pt idx="1">
                  <c:v>0.13857016769638128</c:v>
                </c:pt>
                <c:pt idx="2">
                  <c:v>6.2665489849955874E-2</c:v>
                </c:pt>
                <c:pt idx="3">
                  <c:v>4.9426301853486322E-2</c:v>
                </c:pt>
                <c:pt idx="4">
                  <c:v>3.1774051191526917E-2</c:v>
                </c:pt>
                <c:pt idx="5">
                  <c:v>2.2947925860547221E-2</c:v>
                </c:pt>
                <c:pt idx="6">
                  <c:v>3.265666372462489E-2</c:v>
                </c:pt>
                <c:pt idx="7">
                  <c:v>1.6769638128861428E-2</c:v>
                </c:pt>
                <c:pt idx="8">
                  <c:v>2.0300088261253312E-2</c:v>
                </c:pt>
                <c:pt idx="9">
                  <c:v>1.6769638128861428E-2</c:v>
                </c:pt>
                <c:pt idx="10">
                  <c:v>3.265666372462489E-2</c:v>
                </c:pt>
                <c:pt idx="11">
                  <c:v>4.8543689320388349E-2</c:v>
                </c:pt>
                <c:pt idx="12">
                  <c:v>2.9126213592233011E-2</c:v>
                </c:pt>
                <c:pt idx="13">
                  <c:v>9.7087378640776691E-3</c:v>
                </c:pt>
                <c:pt idx="14">
                  <c:v>1.500441306266549E-2</c:v>
                </c:pt>
                <c:pt idx="15">
                  <c:v>1.5887025595763458E-2</c:v>
                </c:pt>
                <c:pt idx="16">
                  <c:v>3.5304501323918801E-3</c:v>
                </c:pt>
                <c:pt idx="17">
                  <c:v>3.795233892321271E-2</c:v>
                </c:pt>
                <c:pt idx="18">
                  <c:v>3.795233892321271E-2</c:v>
                </c:pt>
                <c:pt idx="19">
                  <c:v>5.4721977052074142E-2</c:v>
                </c:pt>
                <c:pt idx="20">
                  <c:v>0.195057369814651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03D-4BB4-BFF8-DA78BAF5B4CB}"/>
            </c:ext>
          </c:extLst>
        </c:ser>
        <c:ser>
          <c:idx val="2"/>
          <c:order val="2"/>
          <c:tx>
            <c:strRef>
              <c:f>Sheet1!$AN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K$2:$AK$22</c:f>
              <c:strCache>
                <c:ptCount val="21"/>
                <c:pt idx="0">
                  <c:v>0-199</c:v>
                </c:pt>
                <c:pt idx="1">
                  <c:v>200-399</c:v>
                </c:pt>
                <c:pt idx="2">
                  <c:v>400-599</c:v>
                </c:pt>
                <c:pt idx="3">
                  <c:v>600-799</c:v>
                </c:pt>
                <c:pt idx="4">
                  <c:v>800-999</c:v>
                </c:pt>
                <c:pt idx="5">
                  <c:v>1000-1199</c:v>
                </c:pt>
                <c:pt idx="6">
                  <c:v>1200-1399</c:v>
                </c:pt>
                <c:pt idx="7">
                  <c:v>1400-1599</c:v>
                </c:pt>
                <c:pt idx="8">
                  <c:v>1600-1799</c:v>
                </c:pt>
                <c:pt idx="9">
                  <c:v>1800-1999</c:v>
                </c:pt>
                <c:pt idx="10">
                  <c:v>2000-2199</c:v>
                </c:pt>
                <c:pt idx="11">
                  <c:v>2200-2399</c:v>
                </c:pt>
                <c:pt idx="12">
                  <c:v>2400-2599</c:v>
                </c:pt>
                <c:pt idx="13">
                  <c:v>2600-2799</c:v>
                </c:pt>
                <c:pt idx="14">
                  <c:v>2800-2999</c:v>
                </c:pt>
                <c:pt idx="15">
                  <c:v>3000-3199</c:v>
                </c:pt>
                <c:pt idx="16">
                  <c:v>3200-3399</c:v>
                </c:pt>
                <c:pt idx="17">
                  <c:v>3400-3599</c:v>
                </c:pt>
                <c:pt idx="18">
                  <c:v>3600-3799</c:v>
                </c:pt>
                <c:pt idx="19">
                  <c:v>3800-4000</c:v>
                </c:pt>
                <c:pt idx="20">
                  <c:v>&gt;4000</c:v>
                </c:pt>
              </c:strCache>
            </c:strRef>
          </c:cat>
          <c:val>
            <c:numRef>
              <c:f>Sheet1!$AN$2:$AN$22</c:f>
              <c:numCache>
                <c:formatCode>0%</c:formatCode>
                <c:ptCount val="21"/>
                <c:pt idx="0">
                  <c:v>0.48923194206213072</c:v>
                </c:pt>
                <c:pt idx="1">
                  <c:v>0.23441966838193254</c:v>
                </c:pt>
                <c:pt idx="2">
                  <c:v>9.1576138745950067E-2</c:v>
                </c:pt>
                <c:pt idx="3">
                  <c:v>4.8313321898227561E-2</c:v>
                </c:pt>
                <c:pt idx="4">
                  <c:v>2.8111301696207357E-2</c:v>
                </c:pt>
                <c:pt idx="5">
                  <c:v>1.8486754335810939E-2</c:v>
                </c:pt>
                <c:pt idx="6">
                  <c:v>1.4865637507146942E-2</c:v>
                </c:pt>
                <c:pt idx="7">
                  <c:v>9.3386697160282063E-3</c:v>
                </c:pt>
                <c:pt idx="8">
                  <c:v>9.5292548122736798E-3</c:v>
                </c:pt>
                <c:pt idx="9">
                  <c:v>6.6704783685915762E-3</c:v>
                </c:pt>
                <c:pt idx="10">
                  <c:v>5.2410901467505244E-3</c:v>
                </c:pt>
                <c:pt idx="11">
                  <c:v>4.4787497617686297E-3</c:v>
                </c:pt>
                <c:pt idx="12">
                  <c:v>2.4776062511911567E-3</c:v>
                </c:pt>
                <c:pt idx="13">
                  <c:v>2.1917286068229465E-3</c:v>
                </c:pt>
                <c:pt idx="14">
                  <c:v>2.2870211549456832E-3</c:v>
                </c:pt>
                <c:pt idx="15">
                  <c:v>2.5728987993138938E-3</c:v>
                </c:pt>
                <c:pt idx="16">
                  <c:v>2.0964360587002098E-3</c:v>
                </c:pt>
                <c:pt idx="17">
                  <c:v>1.6199733180865257E-3</c:v>
                </c:pt>
                <c:pt idx="18">
                  <c:v>1.3340956737183153E-3</c:v>
                </c:pt>
                <c:pt idx="19">
                  <c:v>1.9058509624547361E-3</c:v>
                </c:pt>
                <c:pt idx="20">
                  <c:v>2.325138174194777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3D-4BB4-BFF8-DA78BAF5B4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42221231"/>
        <c:axId val="1517558831"/>
      </c:barChart>
      <c:catAx>
        <c:axId val="12422212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7558831"/>
        <c:crosses val="autoZero"/>
        <c:auto val="1"/>
        <c:lblAlgn val="ctr"/>
        <c:lblOffset val="100"/>
        <c:noMultiLvlLbl val="0"/>
      </c:catAx>
      <c:valAx>
        <c:axId val="1517558831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22212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image" Target="../media/image14.svg"/><Relationship Id="rId1" Type="http://schemas.openxmlformats.org/officeDocument/2006/relationships/image" Target="../media/image13.png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image" Target="../media/image14.svg"/><Relationship Id="rId1" Type="http://schemas.openxmlformats.org/officeDocument/2006/relationships/image" Target="../media/image13.png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966C245-77E8-4C46-8631-D48E328B20F8}" type="doc">
      <dgm:prSet loTypeId="urn:microsoft.com/office/officeart/2018/5/layout/IconCircleLabelList" loCatId="icon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7CB34F39-17C3-418D-8071-0AE1E5E4B318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b="0" i="0">
              <a:latin typeface="Segoe UI" panose="020B0502040204020203" pitchFamily="34" charset="0"/>
              <a:cs typeface="Segoe UI" panose="020B0502040204020203" pitchFamily="34" charset="0"/>
            </a:rPr>
            <a:t>Business Problem</a:t>
          </a:r>
        </a:p>
      </dgm:t>
    </dgm:pt>
    <dgm:pt modelId="{808D546B-2F8B-4880-B92E-EBC5F3B0DC3D}" type="parTrans" cxnId="{89433818-4308-4D36-8B0F-AD3096B51530}">
      <dgm:prSet/>
      <dgm:spPr/>
      <dgm:t>
        <a:bodyPr/>
        <a:lstStyle/>
        <a:p>
          <a:endParaRPr lang="en-US" b="0" i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091A7AA7-3328-4779-8640-2A6112097A3D}" type="sibTrans" cxnId="{89433818-4308-4D36-8B0F-AD3096B51530}">
      <dgm:prSet/>
      <dgm:spPr/>
      <dgm:t>
        <a:bodyPr/>
        <a:lstStyle/>
        <a:p>
          <a:endParaRPr lang="en-US" b="0" i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BF694EAB-C65F-4B7F-9AA5-47EE1F6907F0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b="0" i="0">
              <a:latin typeface="Segoe UI" panose="020B0502040204020203" pitchFamily="34" charset="0"/>
              <a:cs typeface="Segoe UI" panose="020B0502040204020203" pitchFamily="34" charset="0"/>
            </a:rPr>
            <a:t>Executive Summary</a:t>
          </a:r>
        </a:p>
      </dgm:t>
    </dgm:pt>
    <dgm:pt modelId="{3F36BA50-8378-497A-96D6-30E909361CA7}" type="parTrans" cxnId="{C4A2C236-CD0D-4271-839D-E6E2D8141024}">
      <dgm:prSet/>
      <dgm:spPr/>
      <dgm:t>
        <a:bodyPr/>
        <a:lstStyle/>
        <a:p>
          <a:endParaRPr lang="en-US" b="0" i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251A9B6F-5FE4-4B10-B7B5-D0A44465D07E}" type="sibTrans" cxnId="{C4A2C236-CD0D-4271-839D-E6E2D8141024}">
      <dgm:prSet/>
      <dgm:spPr/>
      <dgm:t>
        <a:bodyPr/>
        <a:lstStyle/>
        <a:p>
          <a:endParaRPr lang="en-US" b="0" i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5B65D333-048B-43A4-863F-768008E50898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b="0" i="0">
              <a:latin typeface="Segoe UI" panose="020B0502040204020203" pitchFamily="34" charset="0"/>
              <a:cs typeface="Segoe UI" panose="020B0502040204020203" pitchFamily="34" charset="0"/>
            </a:rPr>
            <a:t>Scope &amp; Methodology</a:t>
          </a:r>
        </a:p>
      </dgm:t>
    </dgm:pt>
    <dgm:pt modelId="{84DFF90A-467D-47C7-B011-C43096E79375}" type="parTrans" cxnId="{FE49759B-FB58-48CD-9839-B9A415C09EAC}">
      <dgm:prSet/>
      <dgm:spPr/>
      <dgm:t>
        <a:bodyPr/>
        <a:lstStyle/>
        <a:p>
          <a:endParaRPr lang="en-US" b="0" i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2D1A2145-53C3-4852-ABC4-82A66F7C3A9F}" type="sibTrans" cxnId="{FE49759B-FB58-48CD-9839-B9A415C09EAC}">
      <dgm:prSet/>
      <dgm:spPr/>
      <dgm:t>
        <a:bodyPr/>
        <a:lstStyle/>
        <a:p>
          <a:endParaRPr lang="en-US" b="0" i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A7FBC92C-DA42-4C59-9C06-4F8BB03BC08D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b="0" i="0">
              <a:latin typeface="Segoe UI" panose="020B0502040204020203" pitchFamily="34" charset="0"/>
              <a:cs typeface="Segoe UI" panose="020B0502040204020203" pitchFamily="34" charset="0"/>
            </a:rPr>
            <a:t>Modelling</a:t>
          </a:r>
        </a:p>
      </dgm:t>
    </dgm:pt>
    <dgm:pt modelId="{9E8DE7D3-005A-4C9E-9F26-CCEC298160C9}" type="parTrans" cxnId="{03F58EBD-4BEC-4BAE-B1A9-C6159007A3DE}">
      <dgm:prSet/>
      <dgm:spPr/>
      <dgm:t>
        <a:bodyPr/>
        <a:lstStyle/>
        <a:p>
          <a:endParaRPr lang="en-US" b="0" i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FE062586-3EC7-4F71-995D-E1471263CA4B}" type="sibTrans" cxnId="{03F58EBD-4BEC-4BAE-B1A9-C6159007A3DE}">
      <dgm:prSet/>
      <dgm:spPr/>
      <dgm:t>
        <a:bodyPr/>
        <a:lstStyle/>
        <a:p>
          <a:endParaRPr lang="en-US" b="0" i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1D94E693-A7D6-43CE-B08D-04B9C1A2ADCE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b="0" i="0">
              <a:latin typeface="Segoe UI" panose="020B0502040204020203" pitchFamily="34" charset="0"/>
              <a:cs typeface="Segoe UI" panose="020B0502040204020203" pitchFamily="34" charset="0"/>
            </a:rPr>
            <a:t>Conclusions &amp; RECOMMENDATIONS</a:t>
          </a:r>
        </a:p>
      </dgm:t>
    </dgm:pt>
    <dgm:pt modelId="{344829C4-B0B3-42EA-A479-878E694F40DB}" type="parTrans" cxnId="{E9B3EF2F-C6D0-4967-BF81-94975CCFD650}">
      <dgm:prSet/>
      <dgm:spPr/>
      <dgm:t>
        <a:bodyPr/>
        <a:lstStyle/>
        <a:p>
          <a:endParaRPr lang="en-US" b="0" i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705DB69-1CF8-42E5-9723-56E5827FC8DD}" type="sibTrans" cxnId="{E9B3EF2F-C6D0-4967-BF81-94975CCFD650}">
      <dgm:prSet/>
      <dgm:spPr/>
      <dgm:t>
        <a:bodyPr/>
        <a:lstStyle/>
        <a:p>
          <a:endParaRPr lang="en-US" b="0" i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AF19187-9230-4DD6-A98F-32D77E34CE14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b="0" i="0">
              <a:latin typeface="Segoe UI" panose="020B0502040204020203" pitchFamily="34" charset="0"/>
              <a:cs typeface="Segoe UI" panose="020B0502040204020203" pitchFamily="34" charset="0"/>
            </a:rPr>
            <a:t>About client</a:t>
          </a:r>
        </a:p>
      </dgm:t>
    </dgm:pt>
    <dgm:pt modelId="{63DF689C-FD6B-408C-953D-B3EE8EF6ACA0}" type="parTrans" cxnId="{67F1B7D6-9F76-4307-A8FD-566E461D894A}">
      <dgm:prSet/>
      <dgm:spPr/>
      <dgm:t>
        <a:bodyPr/>
        <a:lstStyle/>
        <a:p>
          <a:endParaRPr lang="en-US" b="0" i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573761C6-1BBE-42C0-96B3-072F9270BD27}" type="sibTrans" cxnId="{67F1B7D6-9F76-4307-A8FD-566E461D894A}">
      <dgm:prSet/>
      <dgm:spPr/>
      <dgm:t>
        <a:bodyPr/>
        <a:lstStyle/>
        <a:p>
          <a:endParaRPr lang="en-US" b="0" i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7E567601-6F4B-4661-8C87-52BF16C7F92F}" type="pres">
      <dgm:prSet presAssocID="{5966C245-77E8-4C46-8631-D48E328B20F8}" presName="root" presStyleCnt="0">
        <dgm:presLayoutVars>
          <dgm:dir/>
          <dgm:resizeHandles val="exact"/>
        </dgm:presLayoutVars>
      </dgm:prSet>
      <dgm:spPr/>
    </dgm:pt>
    <dgm:pt modelId="{700D1722-352A-4B4B-AFB8-8686FB3CD82E}" type="pres">
      <dgm:prSet presAssocID="{9AF19187-9230-4DD6-A98F-32D77E34CE14}" presName="compNode" presStyleCnt="0"/>
      <dgm:spPr/>
    </dgm:pt>
    <dgm:pt modelId="{A6578C45-D635-4527-A147-3BC65F22BB68}" type="pres">
      <dgm:prSet presAssocID="{9AF19187-9230-4DD6-A98F-32D77E34CE14}" presName="iconBgRect" presStyleLbl="bgShp" presStyleIdx="0" presStyleCnt="6"/>
      <dgm:spPr>
        <a:solidFill>
          <a:schemeClr val="accent1">
            <a:lumMod val="20000"/>
            <a:lumOff val="80000"/>
          </a:schemeClr>
        </a:solidFill>
      </dgm:spPr>
    </dgm:pt>
    <dgm:pt modelId="{FB2371A9-4879-4424-8C4C-211FF1918D18}" type="pres">
      <dgm:prSet presAssocID="{9AF19187-9230-4DD6-A98F-32D77E34CE14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uilding outline"/>
        </a:ext>
      </dgm:extLst>
    </dgm:pt>
    <dgm:pt modelId="{8D77F71D-8BCE-4C50-8F9F-435E978EC975}" type="pres">
      <dgm:prSet presAssocID="{9AF19187-9230-4DD6-A98F-32D77E34CE14}" presName="spaceRect" presStyleCnt="0"/>
      <dgm:spPr/>
    </dgm:pt>
    <dgm:pt modelId="{EBE3494A-3F94-422A-B323-BBDC7F3535F0}" type="pres">
      <dgm:prSet presAssocID="{9AF19187-9230-4DD6-A98F-32D77E34CE14}" presName="textRect" presStyleLbl="revTx" presStyleIdx="0" presStyleCnt="6">
        <dgm:presLayoutVars>
          <dgm:chMax val="1"/>
          <dgm:chPref val="1"/>
        </dgm:presLayoutVars>
      </dgm:prSet>
      <dgm:spPr/>
    </dgm:pt>
    <dgm:pt modelId="{4DF54476-6551-4A59-AFC9-7F407D50A5ED}" type="pres">
      <dgm:prSet presAssocID="{573761C6-1BBE-42C0-96B3-072F9270BD27}" presName="sibTrans" presStyleCnt="0"/>
      <dgm:spPr/>
    </dgm:pt>
    <dgm:pt modelId="{B3C75D8A-FE20-4977-8C3C-9599028BE9D0}" type="pres">
      <dgm:prSet presAssocID="{7CB34F39-17C3-418D-8071-0AE1E5E4B318}" presName="compNode" presStyleCnt="0"/>
      <dgm:spPr/>
    </dgm:pt>
    <dgm:pt modelId="{46C2011D-9F1C-4E5D-A446-A7F48630EC12}" type="pres">
      <dgm:prSet presAssocID="{7CB34F39-17C3-418D-8071-0AE1E5E4B318}" presName="iconBgRect" presStyleLbl="bgShp" presStyleIdx="1" presStyleCnt="6"/>
      <dgm:spPr>
        <a:solidFill>
          <a:schemeClr val="accent1">
            <a:lumMod val="20000"/>
            <a:lumOff val="80000"/>
          </a:schemeClr>
        </a:solidFill>
        <a:ln>
          <a:noFill/>
        </a:ln>
      </dgm:spPr>
    </dgm:pt>
    <dgm:pt modelId="{CD8C6C42-B592-42BA-B0EB-A4923DC16AC1}" type="pres">
      <dgm:prSet presAssocID="{7CB34F39-17C3-418D-8071-0AE1E5E4B318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009E9A64-6E75-44EE-974A-D36E30568879}" type="pres">
      <dgm:prSet presAssocID="{7CB34F39-17C3-418D-8071-0AE1E5E4B318}" presName="spaceRect" presStyleCnt="0"/>
      <dgm:spPr/>
    </dgm:pt>
    <dgm:pt modelId="{A16A35A0-5387-41F7-A8CD-DA637E42D5AA}" type="pres">
      <dgm:prSet presAssocID="{7CB34F39-17C3-418D-8071-0AE1E5E4B318}" presName="textRect" presStyleLbl="revTx" presStyleIdx="1" presStyleCnt="6">
        <dgm:presLayoutVars>
          <dgm:chMax val="1"/>
          <dgm:chPref val="1"/>
        </dgm:presLayoutVars>
      </dgm:prSet>
      <dgm:spPr/>
    </dgm:pt>
    <dgm:pt modelId="{9C6AD246-5490-459B-B0DB-79D452C9688F}" type="pres">
      <dgm:prSet presAssocID="{091A7AA7-3328-4779-8640-2A6112097A3D}" presName="sibTrans" presStyleCnt="0"/>
      <dgm:spPr/>
    </dgm:pt>
    <dgm:pt modelId="{E9109125-2608-42C5-9E6D-94DBA1576A14}" type="pres">
      <dgm:prSet presAssocID="{BF694EAB-C65F-4B7F-9AA5-47EE1F6907F0}" presName="compNode" presStyleCnt="0"/>
      <dgm:spPr/>
    </dgm:pt>
    <dgm:pt modelId="{8E62BAEC-E32B-4708-93E4-F3A1174B1DB4}" type="pres">
      <dgm:prSet presAssocID="{BF694EAB-C65F-4B7F-9AA5-47EE1F6907F0}" presName="iconBgRect" presStyleLbl="bgShp" presStyleIdx="2" presStyleCnt="6"/>
      <dgm:spPr>
        <a:solidFill>
          <a:schemeClr val="accent1">
            <a:lumMod val="20000"/>
            <a:lumOff val="80000"/>
          </a:schemeClr>
        </a:solidFill>
      </dgm:spPr>
    </dgm:pt>
    <dgm:pt modelId="{F07A30C8-72E3-457A-B66F-CA0786B6F415}" type="pres">
      <dgm:prSet presAssocID="{BF694EAB-C65F-4B7F-9AA5-47EE1F6907F0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pward trend"/>
        </a:ext>
      </dgm:extLst>
    </dgm:pt>
    <dgm:pt modelId="{D878B0BC-B3B0-44B2-ABA2-FF162A146594}" type="pres">
      <dgm:prSet presAssocID="{BF694EAB-C65F-4B7F-9AA5-47EE1F6907F0}" presName="spaceRect" presStyleCnt="0"/>
      <dgm:spPr/>
    </dgm:pt>
    <dgm:pt modelId="{86B75A77-1036-40B5-B268-A8C3DC4BA55A}" type="pres">
      <dgm:prSet presAssocID="{BF694EAB-C65F-4B7F-9AA5-47EE1F6907F0}" presName="textRect" presStyleLbl="revTx" presStyleIdx="2" presStyleCnt="6">
        <dgm:presLayoutVars>
          <dgm:chMax val="1"/>
          <dgm:chPref val="1"/>
        </dgm:presLayoutVars>
      </dgm:prSet>
      <dgm:spPr/>
    </dgm:pt>
    <dgm:pt modelId="{7F5ACA70-2F6F-43C2-A45A-9CC0C50A2AC6}" type="pres">
      <dgm:prSet presAssocID="{251A9B6F-5FE4-4B10-B7B5-D0A44465D07E}" presName="sibTrans" presStyleCnt="0"/>
      <dgm:spPr/>
    </dgm:pt>
    <dgm:pt modelId="{8E3711E2-3711-47EB-A312-913E29805121}" type="pres">
      <dgm:prSet presAssocID="{5B65D333-048B-43A4-863F-768008E50898}" presName="compNode" presStyleCnt="0"/>
      <dgm:spPr/>
    </dgm:pt>
    <dgm:pt modelId="{CB1716DE-0280-4F11-868A-E581FCBE6924}" type="pres">
      <dgm:prSet presAssocID="{5B65D333-048B-43A4-863F-768008E50898}" presName="iconBgRect" presStyleLbl="bgShp" presStyleIdx="3" presStyleCnt="6"/>
      <dgm:spPr>
        <a:solidFill>
          <a:schemeClr val="accent1">
            <a:lumMod val="20000"/>
            <a:lumOff val="80000"/>
          </a:schemeClr>
        </a:solidFill>
      </dgm:spPr>
    </dgm:pt>
    <dgm:pt modelId="{8E667DB4-E438-4AEF-BDB2-43797BCFFF5E}" type="pres">
      <dgm:prSet presAssocID="{5B65D333-048B-43A4-863F-768008E50898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40D34E5D-4E4C-4AF0-96EF-18DAB007276A}" type="pres">
      <dgm:prSet presAssocID="{5B65D333-048B-43A4-863F-768008E50898}" presName="spaceRect" presStyleCnt="0"/>
      <dgm:spPr/>
    </dgm:pt>
    <dgm:pt modelId="{E08B09EB-7710-4F59-99BD-64074CC6FBE5}" type="pres">
      <dgm:prSet presAssocID="{5B65D333-048B-43A4-863F-768008E50898}" presName="textRect" presStyleLbl="revTx" presStyleIdx="3" presStyleCnt="6">
        <dgm:presLayoutVars>
          <dgm:chMax val="1"/>
          <dgm:chPref val="1"/>
        </dgm:presLayoutVars>
      </dgm:prSet>
      <dgm:spPr/>
    </dgm:pt>
    <dgm:pt modelId="{E207EFB1-269C-4A08-B1A5-8F0FD8CF388A}" type="pres">
      <dgm:prSet presAssocID="{2D1A2145-53C3-4852-ABC4-82A66F7C3A9F}" presName="sibTrans" presStyleCnt="0"/>
      <dgm:spPr/>
    </dgm:pt>
    <dgm:pt modelId="{8884EB0B-A8B1-41C4-9D9A-4BF7BA3D8A0C}" type="pres">
      <dgm:prSet presAssocID="{A7FBC92C-DA42-4C59-9C06-4F8BB03BC08D}" presName="compNode" presStyleCnt="0"/>
      <dgm:spPr/>
    </dgm:pt>
    <dgm:pt modelId="{7F948EAB-5611-4CBC-A733-2C8811070462}" type="pres">
      <dgm:prSet presAssocID="{A7FBC92C-DA42-4C59-9C06-4F8BB03BC08D}" presName="iconBgRect" presStyleLbl="bgShp" presStyleIdx="4" presStyleCnt="6"/>
      <dgm:spPr>
        <a:solidFill>
          <a:schemeClr val="accent1">
            <a:lumMod val="20000"/>
            <a:lumOff val="80000"/>
          </a:schemeClr>
        </a:solidFill>
      </dgm:spPr>
    </dgm:pt>
    <dgm:pt modelId="{0B334CF2-3D43-4DC9-84CB-7B22BE37C937}" type="pres">
      <dgm:prSet presAssocID="{A7FBC92C-DA42-4C59-9C06-4F8BB03BC08D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atistics"/>
        </a:ext>
      </dgm:extLst>
    </dgm:pt>
    <dgm:pt modelId="{30337A8E-D49E-44C3-A771-DF4D87B42BC2}" type="pres">
      <dgm:prSet presAssocID="{A7FBC92C-DA42-4C59-9C06-4F8BB03BC08D}" presName="spaceRect" presStyleCnt="0"/>
      <dgm:spPr/>
    </dgm:pt>
    <dgm:pt modelId="{CF65D245-45D4-4650-A445-46D85EAC4C61}" type="pres">
      <dgm:prSet presAssocID="{A7FBC92C-DA42-4C59-9C06-4F8BB03BC08D}" presName="textRect" presStyleLbl="revTx" presStyleIdx="4" presStyleCnt="6">
        <dgm:presLayoutVars>
          <dgm:chMax val="1"/>
          <dgm:chPref val="1"/>
        </dgm:presLayoutVars>
      </dgm:prSet>
      <dgm:spPr/>
    </dgm:pt>
    <dgm:pt modelId="{67851C13-E0A1-4E54-8EEB-14FCE49340DA}" type="pres">
      <dgm:prSet presAssocID="{FE062586-3EC7-4F71-995D-E1471263CA4B}" presName="sibTrans" presStyleCnt="0"/>
      <dgm:spPr/>
    </dgm:pt>
    <dgm:pt modelId="{6066A22A-7124-4B9F-AD93-C9EB64252814}" type="pres">
      <dgm:prSet presAssocID="{1D94E693-A7D6-43CE-B08D-04B9C1A2ADCE}" presName="compNode" presStyleCnt="0"/>
      <dgm:spPr/>
    </dgm:pt>
    <dgm:pt modelId="{04D2C773-7F4B-4E14-ACCF-752BD0E20107}" type="pres">
      <dgm:prSet presAssocID="{1D94E693-A7D6-43CE-B08D-04B9C1A2ADCE}" presName="iconBgRect" presStyleLbl="bgShp" presStyleIdx="5" presStyleCnt="6"/>
      <dgm:spPr>
        <a:solidFill>
          <a:schemeClr val="accent1">
            <a:lumMod val="20000"/>
            <a:lumOff val="80000"/>
          </a:schemeClr>
        </a:solidFill>
      </dgm:spPr>
    </dgm:pt>
    <dgm:pt modelId="{7D1816BC-58FE-49E0-8B83-F84E02B761D1}" type="pres">
      <dgm:prSet presAssocID="{1D94E693-A7D6-43CE-B08D-04B9C1A2ADCE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AA83E4D3-EC7D-43EA-9F8F-D79FBF353385}" type="pres">
      <dgm:prSet presAssocID="{1D94E693-A7D6-43CE-B08D-04B9C1A2ADCE}" presName="spaceRect" presStyleCnt="0"/>
      <dgm:spPr/>
    </dgm:pt>
    <dgm:pt modelId="{64776FF8-43EC-49A0-8888-DF6F0B3B9743}" type="pres">
      <dgm:prSet presAssocID="{1D94E693-A7D6-43CE-B08D-04B9C1A2ADCE}" presName="textRect" presStyleLbl="revTx" presStyleIdx="5" presStyleCnt="6">
        <dgm:presLayoutVars>
          <dgm:chMax val="1"/>
          <dgm:chPref val="1"/>
        </dgm:presLayoutVars>
      </dgm:prSet>
      <dgm:spPr/>
    </dgm:pt>
  </dgm:ptLst>
  <dgm:cxnLst>
    <dgm:cxn modelId="{7E358C0F-6828-4091-ADA7-6F015299BD08}" type="presOf" srcId="{5B65D333-048B-43A4-863F-768008E50898}" destId="{E08B09EB-7710-4F59-99BD-64074CC6FBE5}" srcOrd="0" destOrd="0" presId="urn:microsoft.com/office/officeart/2018/5/layout/IconCircleLabelList"/>
    <dgm:cxn modelId="{89433818-4308-4D36-8B0F-AD3096B51530}" srcId="{5966C245-77E8-4C46-8631-D48E328B20F8}" destId="{7CB34F39-17C3-418D-8071-0AE1E5E4B318}" srcOrd="1" destOrd="0" parTransId="{808D546B-2F8B-4880-B92E-EBC5F3B0DC3D}" sibTransId="{091A7AA7-3328-4779-8640-2A6112097A3D}"/>
    <dgm:cxn modelId="{E9B3EF2F-C6D0-4967-BF81-94975CCFD650}" srcId="{5966C245-77E8-4C46-8631-D48E328B20F8}" destId="{1D94E693-A7D6-43CE-B08D-04B9C1A2ADCE}" srcOrd="5" destOrd="0" parTransId="{344829C4-B0B3-42EA-A479-878E694F40DB}" sibTransId="{4705DB69-1CF8-42E5-9723-56E5827FC8DD}"/>
    <dgm:cxn modelId="{C4A2C236-CD0D-4271-839D-E6E2D8141024}" srcId="{5966C245-77E8-4C46-8631-D48E328B20F8}" destId="{BF694EAB-C65F-4B7F-9AA5-47EE1F6907F0}" srcOrd="2" destOrd="0" parTransId="{3F36BA50-8378-497A-96D6-30E909361CA7}" sibTransId="{251A9B6F-5FE4-4B10-B7B5-D0A44465D07E}"/>
    <dgm:cxn modelId="{7F706960-E9F5-4CB1-96B9-8604368B235B}" type="presOf" srcId="{BF694EAB-C65F-4B7F-9AA5-47EE1F6907F0}" destId="{86B75A77-1036-40B5-B268-A8C3DC4BA55A}" srcOrd="0" destOrd="0" presId="urn:microsoft.com/office/officeart/2018/5/layout/IconCircleLabelList"/>
    <dgm:cxn modelId="{FE49759B-FB58-48CD-9839-B9A415C09EAC}" srcId="{5966C245-77E8-4C46-8631-D48E328B20F8}" destId="{5B65D333-048B-43A4-863F-768008E50898}" srcOrd="3" destOrd="0" parTransId="{84DFF90A-467D-47C7-B011-C43096E79375}" sibTransId="{2D1A2145-53C3-4852-ABC4-82A66F7C3A9F}"/>
    <dgm:cxn modelId="{03F58EBD-4BEC-4BAE-B1A9-C6159007A3DE}" srcId="{5966C245-77E8-4C46-8631-D48E328B20F8}" destId="{A7FBC92C-DA42-4C59-9C06-4F8BB03BC08D}" srcOrd="4" destOrd="0" parTransId="{9E8DE7D3-005A-4C9E-9F26-CCEC298160C9}" sibTransId="{FE062586-3EC7-4F71-995D-E1471263CA4B}"/>
    <dgm:cxn modelId="{3CE04FC7-86EC-4FE1-A92B-F579FB62A515}" type="presOf" srcId="{5966C245-77E8-4C46-8631-D48E328B20F8}" destId="{7E567601-6F4B-4661-8C87-52BF16C7F92F}" srcOrd="0" destOrd="0" presId="urn:microsoft.com/office/officeart/2018/5/layout/IconCircleLabelList"/>
    <dgm:cxn modelId="{CD1DE8CC-678D-4DEC-BB44-5FDD71F4CCB1}" type="presOf" srcId="{7CB34F39-17C3-418D-8071-0AE1E5E4B318}" destId="{A16A35A0-5387-41F7-A8CD-DA637E42D5AA}" srcOrd="0" destOrd="0" presId="urn:microsoft.com/office/officeart/2018/5/layout/IconCircleLabelList"/>
    <dgm:cxn modelId="{67F1B7D6-9F76-4307-A8FD-566E461D894A}" srcId="{5966C245-77E8-4C46-8631-D48E328B20F8}" destId="{9AF19187-9230-4DD6-A98F-32D77E34CE14}" srcOrd="0" destOrd="0" parTransId="{63DF689C-FD6B-408C-953D-B3EE8EF6ACA0}" sibTransId="{573761C6-1BBE-42C0-96B3-072F9270BD27}"/>
    <dgm:cxn modelId="{764CF2E9-B991-49AD-938D-3D39D4491A83}" type="presOf" srcId="{A7FBC92C-DA42-4C59-9C06-4F8BB03BC08D}" destId="{CF65D245-45D4-4650-A445-46D85EAC4C61}" srcOrd="0" destOrd="0" presId="urn:microsoft.com/office/officeart/2018/5/layout/IconCircleLabelList"/>
    <dgm:cxn modelId="{84FA8AFC-CEB9-4A41-91D6-33FB855E7D04}" type="presOf" srcId="{1D94E693-A7D6-43CE-B08D-04B9C1A2ADCE}" destId="{64776FF8-43EC-49A0-8888-DF6F0B3B9743}" srcOrd="0" destOrd="0" presId="urn:microsoft.com/office/officeart/2018/5/layout/IconCircleLabelList"/>
    <dgm:cxn modelId="{BEEE8CFE-6C7E-4536-9DBE-E86142B2594E}" type="presOf" srcId="{9AF19187-9230-4DD6-A98F-32D77E34CE14}" destId="{EBE3494A-3F94-422A-B323-BBDC7F3535F0}" srcOrd="0" destOrd="0" presId="urn:microsoft.com/office/officeart/2018/5/layout/IconCircleLabelList"/>
    <dgm:cxn modelId="{FB4CCC00-CBEA-4B5B-B910-95A9A38E3595}" type="presParOf" srcId="{7E567601-6F4B-4661-8C87-52BF16C7F92F}" destId="{700D1722-352A-4B4B-AFB8-8686FB3CD82E}" srcOrd="0" destOrd="0" presId="urn:microsoft.com/office/officeart/2018/5/layout/IconCircleLabelList"/>
    <dgm:cxn modelId="{16E04E6C-6F39-40A1-940C-67CED2C1C60F}" type="presParOf" srcId="{700D1722-352A-4B4B-AFB8-8686FB3CD82E}" destId="{A6578C45-D635-4527-A147-3BC65F22BB68}" srcOrd="0" destOrd="0" presId="urn:microsoft.com/office/officeart/2018/5/layout/IconCircleLabelList"/>
    <dgm:cxn modelId="{99E007EE-85C8-428A-8E51-55D6154873AF}" type="presParOf" srcId="{700D1722-352A-4B4B-AFB8-8686FB3CD82E}" destId="{FB2371A9-4879-4424-8C4C-211FF1918D18}" srcOrd="1" destOrd="0" presId="urn:microsoft.com/office/officeart/2018/5/layout/IconCircleLabelList"/>
    <dgm:cxn modelId="{66B51EDA-6BAF-421B-97F2-E9E6C9ED0F44}" type="presParOf" srcId="{700D1722-352A-4B4B-AFB8-8686FB3CD82E}" destId="{8D77F71D-8BCE-4C50-8F9F-435E978EC975}" srcOrd="2" destOrd="0" presId="urn:microsoft.com/office/officeart/2018/5/layout/IconCircleLabelList"/>
    <dgm:cxn modelId="{0441A8A7-2688-4052-9BD5-4BA31A1C7AE2}" type="presParOf" srcId="{700D1722-352A-4B4B-AFB8-8686FB3CD82E}" destId="{EBE3494A-3F94-422A-B323-BBDC7F3535F0}" srcOrd="3" destOrd="0" presId="urn:microsoft.com/office/officeart/2018/5/layout/IconCircleLabelList"/>
    <dgm:cxn modelId="{DD5BB188-9877-42F7-853B-904E98C283DA}" type="presParOf" srcId="{7E567601-6F4B-4661-8C87-52BF16C7F92F}" destId="{4DF54476-6551-4A59-AFC9-7F407D50A5ED}" srcOrd="1" destOrd="0" presId="urn:microsoft.com/office/officeart/2018/5/layout/IconCircleLabelList"/>
    <dgm:cxn modelId="{861A0980-AD8A-48FA-ACD3-D642C6B0E627}" type="presParOf" srcId="{7E567601-6F4B-4661-8C87-52BF16C7F92F}" destId="{B3C75D8A-FE20-4977-8C3C-9599028BE9D0}" srcOrd="2" destOrd="0" presId="urn:microsoft.com/office/officeart/2018/5/layout/IconCircleLabelList"/>
    <dgm:cxn modelId="{5D595B86-D2DB-4B8C-AA20-84F2B24886E6}" type="presParOf" srcId="{B3C75D8A-FE20-4977-8C3C-9599028BE9D0}" destId="{46C2011D-9F1C-4E5D-A446-A7F48630EC12}" srcOrd="0" destOrd="0" presId="urn:microsoft.com/office/officeart/2018/5/layout/IconCircleLabelList"/>
    <dgm:cxn modelId="{8BDB2EFD-ABB9-4917-BD58-1B413F1BF636}" type="presParOf" srcId="{B3C75D8A-FE20-4977-8C3C-9599028BE9D0}" destId="{CD8C6C42-B592-42BA-B0EB-A4923DC16AC1}" srcOrd="1" destOrd="0" presId="urn:microsoft.com/office/officeart/2018/5/layout/IconCircleLabelList"/>
    <dgm:cxn modelId="{7DEF0128-FA7F-43D9-A79F-22F7406D6CFC}" type="presParOf" srcId="{B3C75D8A-FE20-4977-8C3C-9599028BE9D0}" destId="{009E9A64-6E75-44EE-974A-D36E30568879}" srcOrd="2" destOrd="0" presId="urn:microsoft.com/office/officeart/2018/5/layout/IconCircleLabelList"/>
    <dgm:cxn modelId="{B1662B33-318F-4582-91E7-43A06BDFC670}" type="presParOf" srcId="{B3C75D8A-FE20-4977-8C3C-9599028BE9D0}" destId="{A16A35A0-5387-41F7-A8CD-DA637E42D5AA}" srcOrd="3" destOrd="0" presId="urn:microsoft.com/office/officeart/2018/5/layout/IconCircleLabelList"/>
    <dgm:cxn modelId="{E62F8C8E-6E86-46BD-96E3-4BF344035A67}" type="presParOf" srcId="{7E567601-6F4B-4661-8C87-52BF16C7F92F}" destId="{9C6AD246-5490-459B-B0DB-79D452C9688F}" srcOrd="3" destOrd="0" presId="urn:microsoft.com/office/officeart/2018/5/layout/IconCircleLabelList"/>
    <dgm:cxn modelId="{D7073018-4C6B-4982-8251-6945EFB75BFC}" type="presParOf" srcId="{7E567601-6F4B-4661-8C87-52BF16C7F92F}" destId="{E9109125-2608-42C5-9E6D-94DBA1576A14}" srcOrd="4" destOrd="0" presId="urn:microsoft.com/office/officeart/2018/5/layout/IconCircleLabelList"/>
    <dgm:cxn modelId="{6B211C3A-E904-4115-AC9D-B35635E41707}" type="presParOf" srcId="{E9109125-2608-42C5-9E6D-94DBA1576A14}" destId="{8E62BAEC-E32B-4708-93E4-F3A1174B1DB4}" srcOrd="0" destOrd="0" presId="urn:microsoft.com/office/officeart/2018/5/layout/IconCircleLabelList"/>
    <dgm:cxn modelId="{418D5035-1388-42FA-B511-C2C360FCE5DF}" type="presParOf" srcId="{E9109125-2608-42C5-9E6D-94DBA1576A14}" destId="{F07A30C8-72E3-457A-B66F-CA0786B6F415}" srcOrd="1" destOrd="0" presId="urn:microsoft.com/office/officeart/2018/5/layout/IconCircleLabelList"/>
    <dgm:cxn modelId="{7D564EFB-17BD-45AD-9D2D-670F538A7576}" type="presParOf" srcId="{E9109125-2608-42C5-9E6D-94DBA1576A14}" destId="{D878B0BC-B3B0-44B2-ABA2-FF162A146594}" srcOrd="2" destOrd="0" presId="urn:microsoft.com/office/officeart/2018/5/layout/IconCircleLabelList"/>
    <dgm:cxn modelId="{0100D6AF-7254-4347-89A1-0559101B6F9E}" type="presParOf" srcId="{E9109125-2608-42C5-9E6D-94DBA1576A14}" destId="{86B75A77-1036-40B5-B268-A8C3DC4BA55A}" srcOrd="3" destOrd="0" presId="urn:microsoft.com/office/officeart/2018/5/layout/IconCircleLabelList"/>
    <dgm:cxn modelId="{83CE7836-E5B0-4DAE-BBB5-3DCC603F9428}" type="presParOf" srcId="{7E567601-6F4B-4661-8C87-52BF16C7F92F}" destId="{7F5ACA70-2F6F-43C2-A45A-9CC0C50A2AC6}" srcOrd="5" destOrd="0" presId="urn:microsoft.com/office/officeart/2018/5/layout/IconCircleLabelList"/>
    <dgm:cxn modelId="{D22A946D-A35E-40DE-996F-C5054C33438A}" type="presParOf" srcId="{7E567601-6F4B-4661-8C87-52BF16C7F92F}" destId="{8E3711E2-3711-47EB-A312-913E29805121}" srcOrd="6" destOrd="0" presId="urn:microsoft.com/office/officeart/2018/5/layout/IconCircleLabelList"/>
    <dgm:cxn modelId="{1CBEC705-E9DE-4F15-81CD-B010684C99D1}" type="presParOf" srcId="{8E3711E2-3711-47EB-A312-913E29805121}" destId="{CB1716DE-0280-4F11-868A-E581FCBE6924}" srcOrd="0" destOrd="0" presId="urn:microsoft.com/office/officeart/2018/5/layout/IconCircleLabelList"/>
    <dgm:cxn modelId="{18940B2F-7CCD-4670-9199-9AF0BDDD6173}" type="presParOf" srcId="{8E3711E2-3711-47EB-A312-913E29805121}" destId="{8E667DB4-E438-4AEF-BDB2-43797BCFFF5E}" srcOrd="1" destOrd="0" presId="urn:microsoft.com/office/officeart/2018/5/layout/IconCircleLabelList"/>
    <dgm:cxn modelId="{FD234EC5-47DD-4234-9709-43990161F846}" type="presParOf" srcId="{8E3711E2-3711-47EB-A312-913E29805121}" destId="{40D34E5D-4E4C-4AF0-96EF-18DAB007276A}" srcOrd="2" destOrd="0" presId="urn:microsoft.com/office/officeart/2018/5/layout/IconCircleLabelList"/>
    <dgm:cxn modelId="{3DD83320-3AF0-43F8-A4D1-8D01BD7ECEF9}" type="presParOf" srcId="{8E3711E2-3711-47EB-A312-913E29805121}" destId="{E08B09EB-7710-4F59-99BD-64074CC6FBE5}" srcOrd="3" destOrd="0" presId="urn:microsoft.com/office/officeart/2018/5/layout/IconCircleLabelList"/>
    <dgm:cxn modelId="{336D679B-F783-4C77-BE0A-80B83EE2A911}" type="presParOf" srcId="{7E567601-6F4B-4661-8C87-52BF16C7F92F}" destId="{E207EFB1-269C-4A08-B1A5-8F0FD8CF388A}" srcOrd="7" destOrd="0" presId="urn:microsoft.com/office/officeart/2018/5/layout/IconCircleLabelList"/>
    <dgm:cxn modelId="{12DCF206-7716-4498-B1CD-1C0980F08DBC}" type="presParOf" srcId="{7E567601-6F4B-4661-8C87-52BF16C7F92F}" destId="{8884EB0B-A8B1-41C4-9D9A-4BF7BA3D8A0C}" srcOrd="8" destOrd="0" presId="urn:microsoft.com/office/officeart/2018/5/layout/IconCircleLabelList"/>
    <dgm:cxn modelId="{33365153-F899-47A5-B6BF-EEEB8FA75E7F}" type="presParOf" srcId="{8884EB0B-A8B1-41C4-9D9A-4BF7BA3D8A0C}" destId="{7F948EAB-5611-4CBC-A733-2C8811070462}" srcOrd="0" destOrd="0" presId="urn:microsoft.com/office/officeart/2018/5/layout/IconCircleLabelList"/>
    <dgm:cxn modelId="{CE91A8F8-9B65-4CA1-8B9F-FDD1FA94CE5F}" type="presParOf" srcId="{8884EB0B-A8B1-41C4-9D9A-4BF7BA3D8A0C}" destId="{0B334CF2-3D43-4DC9-84CB-7B22BE37C937}" srcOrd="1" destOrd="0" presId="urn:microsoft.com/office/officeart/2018/5/layout/IconCircleLabelList"/>
    <dgm:cxn modelId="{5F30B6CA-BA2D-493A-BE5C-7F928783B04F}" type="presParOf" srcId="{8884EB0B-A8B1-41C4-9D9A-4BF7BA3D8A0C}" destId="{30337A8E-D49E-44C3-A771-DF4D87B42BC2}" srcOrd="2" destOrd="0" presId="urn:microsoft.com/office/officeart/2018/5/layout/IconCircleLabelList"/>
    <dgm:cxn modelId="{218E3594-95B7-4C2F-AD09-184EF07C1A3D}" type="presParOf" srcId="{8884EB0B-A8B1-41C4-9D9A-4BF7BA3D8A0C}" destId="{CF65D245-45D4-4650-A445-46D85EAC4C61}" srcOrd="3" destOrd="0" presId="urn:microsoft.com/office/officeart/2018/5/layout/IconCircleLabelList"/>
    <dgm:cxn modelId="{657DA514-3422-4D58-867D-DC784272F535}" type="presParOf" srcId="{7E567601-6F4B-4661-8C87-52BF16C7F92F}" destId="{67851C13-E0A1-4E54-8EEB-14FCE49340DA}" srcOrd="9" destOrd="0" presId="urn:microsoft.com/office/officeart/2018/5/layout/IconCircleLabelList"/>
    <dgm:cxn modelId="{89E41597-12CD-4834-9D97-0B6A22405502}" type="presParOf" srcId="{7E567601-6F4B-4661-8C87-52BF16C7F92F}" destId="{6066A22A-7124-4B9F-AD93-C9EB64252814}" srcOrd="10" destOrd="0" presId="urn:microsoft.com/office/officeart/2018/5/layout/IconCircleLabelList"/>
    <dgm:cxn modelId="{152F7F19-0BFF-42BB-8874-6B00F5C4CAC9}" type="presParOf" srcId="{6066A22A-7124-4B9F-AD93-C9EB64252814}" destId="{04D2C773-7F4B-4E14-ACCF-752BD0E20107}" srcOrd="0" destOrd="0" presId="urn:microsoft.com/office/officeart/2018/5/layout/IconCircleLabelList"/>
    <dgm:cxn modelId="{D4F2166D-B8EA-4883-B24C-B7BE0BB721AF}" type="presParOf" srcId="{6066A22A-7124-4B9F-AD93-C9EB64252814}" destId="{7D1816BC-58FE-49E0-8B83-F84E02B761D1}" srcOrd="1" destOrd="0" presId="urn:microsoft.com/office/officeart/2018/5/layout/IconCircleLabelList"/>
    <dgm:cxn modelId="{5738450C-7C7D-4495-BC87-77E60F42FED0}" type="presParOf" srcId="{6066A22A-7124-4B9F-AD93-C9EB64252814}" destId="{AA83E4D3-EC7D-43EA-9F8F-D79FBF353385}" srcOrd="2" destOrd="0" presId="urn:microsoft.com/office/officeart/2018/5/layout/IconCircleLabelList"/>
    <dgm:cxn modelId="{B949D75C-62F5-4394-927E-9A39071FA3D5}" type="presParOf" srcId="{6066A22A-7124-4B9F-AD93-C9EB64252814}" destId="{64776FF8-43EC-49A0-8888-DF6F0B3B9743}" srcOrd="3" destOrd="0" presId="urn:microsoft.com/office/officeart/2018/5/layout/IconCircleLabelList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105F431-6D09-492E-B11F-076C48856960}" type="doc">
      <dgm:prSet loTypeId="urn:microsoft.com/office/officeart/2005/8/layout/vProcess5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48957517-A38F-4018-A950-90A87E06022E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rtl="0"/>
          <a:r>
            <a:rPr lang="en-US">
              <a:solidFill>
                <a:schemeClr val="tx2"/>
              </a:solidFill>
              <a:latin typeface="Tw Cen MT" panose="020B0502020104020203"/>
            </a:rPr>
            <a:t>Attained model accuracy of 95% using linear SVC</a:t>
          </a:r>
          <a:endParaRPr lang="en-US">
            <a:solidFill>
              <a:schemeClr val="tx2"/>
            </a:solidFill>
          </a:endParaRPr>
        </a:p>
      </dgm:t>
    </dgm:pt>
    <dgm:pt modelId="{5481D9E3-EE9B-4495-B0EF-D3F4CC581CD0}" type="parTrans" cxnId="{14DE50F6-FE47-408B-9B08-DC5923F6520C}">
      <dgm:prSet/>
      <dgm:spPr/>
      <dgm:t>
        <a:bodyPr/>
        <a:lstStyle/>
        <a:p>
          <a:endParaRPr lang="en-US"/>
        </a:p>
      </dgm:t>
    </dgm:pt>
    <dgm:pt modelId="{F3D75C2F-1294-46BA-B5AD-E9FA22B882ED}" type="sibTrans" cxnId="{14DE50F6-FE47-408B-9B08-DC5923F6520C}">
      <dgm:prSet/>
      <dgm:spPr/>
      <dgm:t>
        <a:bodyPr/>
        <a:lstStyle/>
        <a:p>
          <a:endParaRPr lang="en-US"/>
        </a:p>
      </dgm:t>
    </dgm:pt>
    <dgm:pt modelId="{F566DEFB-23C9-4379-B75F-6277BFCD31FC}">
      <dgm:prSet phldr="0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rtl="0"/>
          <a:r>
            <a:rPr lang="en-US" dirty="0">
              <a:solidFill>
                <a:schemeClr val="tx2"/>
              </a:solidFill>
              <a:latin typeface="Tw Cen MT" panose="020B0502020104020203"/>
            </a:rPr>
            <a:t>Correctly classified ~6% ads in general category related to ‘cars + trucks’ and ‘beauty + health’ categories.</a:t>
          </a:r>
        </a:p>
      </dgm:t>
    </dgm:pt>
    <dgm:pt modelId="{6D35D7DB-6376-4ED0-A1AD-1D8A00F3A63B}" type="parTrans" cxnId="{024F6CAA-3656-480F-BC84-071461BEE557}">
      <dgm:prSet/>
      <dgm:spPr/>
      <dgm:t>
        <a:bodyPr/>
        <a:lstStyle/>
        <a:p>
          <a:endParaRPr lang="en-US"/>
        </a:p>
      </dgm:t>
    </dgm:pt>
    <dgm:pt modelId="{B8E48FE3-33FA-4D0F-85ED-528B60FFB3CD}" type="sibTrans" cxnId="{024F6CAA-3656-480F-BC84-071461BEE557}">
      <dgm:prSet/>
      <dgm:spPr/>
      <dgm:t>
        <a:bodyPr/>
        <a:lstStyle/>
        <a:p>
          <a:endParaRPr lang="en-US"/>
        </a:p>
      </dgm:t>
    </dgm:pt>
    <dgm:pt modelId="{32DF3C4E-39F1-4F60-853A-3903C6BAC555}">
      <dgm:prSet phldr="0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rtl="0"/>
          <a:r>
            <a:rPr lang="en-US">
              <a:solidFill>
                <a:schemeClr val="tx2"/>
              </a:solidFill>
              <a:latin typeface="Tw Cen MT" panose="020B0502020104020203"/>
            </a:rPr>
            <a:t>Since, we cater to our customers, they don’t switch to other platforms to post their ads.</a:t>
          </a:r>
        </a:p>
      </dgm:t>
    </dgm:pt>
    <dgm:pt modelId="{ECBAE811-606F-4FA3-91F7-3FAA2584C9A8}" type="parTrans" cxnId="{C8528B7A-D964-4E52-BF20-A969DCCA23D4}">
      <dgm:prSet/>
      <dgm:spPr/>
      <dgm:t>
        <a:bodyPr/>
        <a:lstStyle/>
        <a:p>
          <a:endParaRPr lang="en-US"/>
        </a:p>
      </dgm:t>
    </dgm:pt>
    <dgm:pt modelId="{DCF157A8-19C2-4198-A8C9-73A2FC78D0EA}" type="sibTrans" cxnId="{C8528B7A-D964-4E52-BF20-A969DCCA23D4}">
      <dgm:prSet/>
      <dgm:spPr/>
      <dgm:t>
        <a:bodyPr/>
        <a:lstStyle/>
        <a:p>
          <a:endParaRPr lang="en-US"/>
        </a:p>
      </dgm:t>
    </dgm:pt>
    <dgm:pt modelId="{69D12017-6268-4538-9334-C1E836DFEAFA}">
      <dgm:prSet phldr="0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>
              <a:solidFill>
                <a:schemeClr val="tx2"/>
              </a:solidFill>
              <a:latin typeface="Tw Cen MT" panose="020B0502020104020203"/>
            </a:rPr>
            <a:t>Our model saves the manual work of tagging the ads by craigslist</a:t>
          </a:r>
          <a:endParaRPr lang="en-US">
            <a:solidFill>
              <a:schemeClr val="tx2"/>
            </a:solidFill>
          </a:endParaRPr>
        </a:p>
      </dgm:t>
    </dgm:pt>
    <dgm:pt modelId="{17B25723-00AF-4407-ACAD-494577430777}" type="parTrans" cxnId="{FE47D967-A7DD-4CBE-8AC9-50D6D01F63EF}">
      <dgm:prSet/>
      <dgm:spPr/>
      <dgm:t>
        <a:bodyPr/>
        <a:lstStyle/>
        <a:p>
          <a:endParaRPr lang="en-US"/>
        </a:p>
      </dgm:t>
    </dgm:pt>
    <dgm:pt modelId="{A1B1AE63-878E-41F0-B9F8-3D92B0E3C947}" type="sibTrans" cxnId="{FE47D967-A7DD-4CBE-8AC9-50D6D01F63EF}">
      <dgm:prSet/>
      <dgm:spPr/>
      <dgm:t>
        <a:bodyPr/>
        <a:lstStyle/>
        <a:p>
          <a:endParaRPr lang="en-US"/>
        </a:p>
      </dgm:t>
    </dgm:pt>
    <dgm:pt modelId="{D3737F17-A937-A648-99D1-A629892EF2F6}" type="pres">
      <dgm:prSet presAssocID="{1105F431-6D09-492E-B11F-076C48856960}" presName="outerComposite" presStyleCnt="0">
        <dgm:presLayoutVars>
          <dgm:chMax val="5"/>
          <dgm:dir/>
          <dgm:resizeHandles val="exact"/>
        </dgm:presLayoutVars>
      </dgm:prSet>
      <dgm:spPr/>
    </dgm:pt>
    <dgm:pt modelId="{2F557C7B-8ED2-D14D-991C-6BB39AC817CF}" type="pres">
      <dgm:prSet presAssocID="{1105F431-6D09-492E-B11F-076C48856960}" presName="dummyMaxCanvas" presStyleCnt="0">
        <dgm:presLayoutVars/>
      </dgm:prSet>
      <dgm:spPr/>
    </dgm:pt>
    <dgm:pt modelId="{B87EFC89-E603-43A1-B411-B775771C31A7}" type="pres">
      <dgm:prSet presAssocID="{1105F431-6D09-492E-B11F-076C48856960}" presName="FourNodes_1" presStyleLbl="node1" presStyleIdx="0" presStyleCnt="4">
        <dgm:presLayoutVars>
          <dgm:bulletEnabled val="1"/>
        </dgm:presLayoutVars>
      </dgm:prSet>
      <dgm:spPr/>
    </dgm:pt>
    <dgm:pt modelId="{31519A5D-9248-4956-AD2C-E4627C8A4CD1}" type="pres">
      <dgm:prSet presAssocID="{1105F431-6D09-492E-B11F-076C48856960}" presName="FourNodes_2" presStyleLbl="node1" presStyleIdx="1" presStyleCnt="4">
        <dgm:presLayoutVars>
          <dgm:bulletEnabled val="1"/>
        </dgm:presLayoutVars>
      </dgm:prSet>
      <dgm:spPr/>
    </dgm:pt>
    <dgm:pt modelId="{CEA01939-3C51-4931-8DF2-C0684C468E5E}" type="pres">
      <dgm:prSet presAssocID="{1105F431-6D09-492E-B11F-076C48856960}" presName="FourNodes_3" presStyleLbl="node1" presStyleIdx="2" presStyleCnt="4">
        <dgm:presLayoutVars>
          <dgm:bulletEnabled val="1"/>
        </dgm:presLayoutVars>
      </dgm:prSet>
      <dgm:spPr/>
    </dgm:pt>
    <dgm:pt modelId="{00F0052E-28EE-4C50-AA3B-65D42C76208C}" type="pres">
      <dgm:prSet presAssocID="{1105F431-6D09-492E-B11F-076C48856960}" presName="FourNodes_4" presStyleLbl="node1" presStyleIdx="3" presStyleCnt="4">
        <dgm:presLayoutVars>
          <dgm:bulletEnabled val="1"/>
        </dgm:presLayoutVars>
      </dgm:prSet>
      <dgm:spPr/>
    </dgm:pt>
    <dgm:pt modelId="{000FBEAA-AB6A-45C2-9EE4-5C794D4B8D1B}" type="pres">
      <dgm:prSet presAssocID="{1105F431-6D09-492E-B11F-076C48856960}" presName="FourConn_1-2" presStyleLbl="fgAccFollowNode1" presStyleIdx="0" presStyleCnt="3">
        <dgm:presLayoutVars>
          <dgm:bulletEnabled val="1"/>
        </dgm:presLayoutVars>
      </dgm:prSet>
      <dgm:spPr/>
    </dgm:pt>
    <dgm:pt modelId="{1ECFAFFF-295B-479A-9F15-D3BF6C6C1812}" type="pres">
      <dgm:prSet presAssocID="{1105F431-6D09-492E-B11F-076C48856960}" presName="FourConn_2-3" presStyleLbl="fgAccFollowNode1" presStyleIdx="1" presStyleCnt="3">
        <dgm:presLayoutVars>
          <dgm:bulletEnabled val="1"/>
        </dgm:presLayoutVars>
      </dgm:prSet>
      <dgm:spPr/>
    </dgm:pt>
    <dgm:pt modelId="{64E3F23D-437A-4067-8A52-45CF39777610}" type="pres">
      <dgm:prSet presAssocID="{1105F431-6D09-492E-B11F-076C48856960}" presName="FourConn_3-4" presStyleLbl="fgAccFollowNode1" presStyleIdx="2" presStyleCnt="3">
        <dgm:presLayoutVars>
          <dgm:bulletEnabled val="1"/>
        </dgm:presLayoutVars>
      </dgm:prSet>
      <dgm:spPr/>
    </dgm:pt>
    <dgm:pt modelId="{02F83E8A-AD9C-42AB-9ABF-656DE47E58D5}" type="pres">
      <dgm:prSet presAssocID="{1105F431-6D09-492E-B11F-076C48856960}" presName="FourNodes_1_text" presStyleLbl="node1" presStyleIdx="3" presStyleCnt="4">
        <dgm:presLayoutVars>
          <dgm:bulletEnabled val="1"/>
        </dgm:presLayoutVars>
      </dgm:prSet>
      <dgm:spPr/>
    </dgm:pt>
    <dgm:pt modelId="{6B218F2E-295B-45A2-A062-189AB785D503}" type="pres">
      <dgm:prSet presAssocID="{1105F431-6D09-492E-B11F-076C48856960}" presName="FourNodes_2_text" presStyleLbl="node1" presStyleIdx="3" presStyleCnt="4">
        <dgm:presLayoutVars>
          <dgm:bulletEnabled val="1"/>
        </dgm:presLayoutVars>
      </dgm:prSet>
      <dgm:spPr/>
    </dgm:pt>
    <dgm:pt modelId="{5F71D63E-E4DF-41DA-BB2D-D7618972315A}" type="pres">
      <dgm:prSet presAssocID="{1105F431-6D09-492E-B11F-076C48856960}" presName="FourNodes_3_text" presStyleLbl="node1" presStyleIdx="3" presStyleCnt="4">
        <dgm:presLayoutVars>
          <dgm:bulletEnabled val="1"/>
        </dgm:presLayoutVars>
      </dgm:prSet>
      <dgm:spPr/>
    </dgm:pt>
    <dgm:pt modelId="{03049B3B-E20B-447D-9B7C-902EB62FCE0D}" type="pres">
      <dgm:prSet presAssocID="{1105F431-6D09-492E-B11F-076C48856960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56A87A10-71B1-48F5-B343-75B554B960B2}" type="presOf" srcId="{B8E48FE3-33FA-4D0F-85ED-528B60FFB3CD}" destId="{1ECFAFFF-295B-479A-9F15-D3BF6C6C1812}" srcOrd="0" destOrd="0" presId="urn:microsoft.com/office/officeart/2005/8/layout/vProcess5"/>
    <dgm:cxn modelId="{06D2D65C-F030-4F35-A8B0-2BF2C00CE120}" type="presOf" srcId="{48957517-A38F-4018-A950-90A87E06022E}" destId="{B87EFC89-E603-43A1-B411-B775771C31A7}" srcOrd="0" destOrd="0" presId="urn:microsoft.com/office/officeart/2005/8/layout/vProcess5"/>
    <dgm:cxn modelId="{BD195161-7D78-424F-9BC7-D8BDA8CF72E1}" type="presOf" srcId="{F566DEFB-23C9-4379-B75F-6277BFCD31FC}" destId="{31519A5D-9248-4956-AD2C-E4627C8A4CD1}" srcOrd="0" destOrd="0" presId="urn:microsoft.com/office/officeart/2005/8/layout/vProcess5"/>
    <dgm:cxn modelId="{FE47D967-A7DD-4CBE-8AC9-50D6D01F63EF}" srcId="{1105F431-6D09-492E-B11F-076C48856960}" destId="{69D12017-6268-4538-9334-C1E836DFEAFA}" srcOrd="2" destOrd="0" parTransId="{17B25723-00AF-4407-ACAD-494577430777}" sibTransId="{A1B1AE63-878E-41F0-B9F8-3D92B0E3C947}"/>
    <dgm:cxn modelId="{814B946F-1707-4DF0-95F0-BAD6BBE452F0}" type="presOf" srcId="{69D12017-6268-4538-9334-C1E836DFEAFA}" destId="{5F71D63E-E4DF-41DA-BB2D-D7618972315A}" srcOrd="1" destOrd="0" presId="urn:microsoft.com/office/officeart/2005/8/layout/vProcess5"/>
    <dgm:cxn modelId="{A7A08470-01C7-4477-8E57-D80EF5754C44}" type="presOf" srcId="{48957517-A38F-4018-A950-90A87E06022E}" destId="{02F83E8A-AD9C-42AB-9ABF-656DE47E58D5}" srcOrd="1" destOrd="0" presId="urn:microsoft.com/office/officeart/2005/8/layout/vProcess5"/>
    <dgm:cxn modelId="{CB577853-DB45-4E15-A6F6-AF0237FEA6C3}" type="presOf" srcId="{A1B1AE63-878E-41F0-B9F8-3D92B0E3C947}" destId="{64E3F23D-437A-4067-8A52-45CF39777610}" srcOrd="0" destOrd="0" presId="urn:microsoft.com/office/officeart/2005/8/layout/vProcess5"/>
    <dgm:cxn modelId="{EED2DE57-0754-4CED-A334-6D1E104AA216}" type="presOf" srcId="{69D12017-6268-4538-9334-C1E836DFEAFA}" destId="{CEA01939-3C51-4931-8DF2-C0684C468E5E}" srcOrd="0" destOrd="0" presId="urn:microsoft.com/office/officeart/2005/8/layout/vProcess5"/>
    <dgm:cxn modelId="{C8528B7A-D964-4E52-BF20-A969DCCA23D4}" srcId="{1105F431-6D09-492E-B11F-076C48856960}" destId="{32DF3C4E-39F1-4F60-853A-3903C6BAC555}" srcOrd="3" destOrd="0" parTransId="{ECBAE811-606F-4FA3-91F7-3FAA2584C9A8}" sibTransId="{DCF157A8-19C2-4198-A8C9-73A2FC78D0EA}"/>
    <dgm:cxn modelId="{B0E9DE8D-1067-4F58-AF2F-7C17D3C42A71}" type="presOf" srcId="{32DF3C4E-39F1-4F60-853A-3903C6BAC555}" destId="{00F0052E-28EE-4C50-AA3B-65D42C76208C}" srcOrd="0" destOrd="0" presId="urn:microsoft.com/office/officeart/2005/8/layout/vProcess5"/>
    <dgm:cxn modelId="{024F6CAA-3656-480F-BC84-071461BEE557}" srcId="{1105F431-6D09-492E-B11F-076C48856960}" destId="{F566DEFB-23C9-4379-B75F-6277BFCD31FC}" srcOrd="1" destOrd="0" parTransId="{6D35D7DB-6376-4ED0-A1AD-1D8A00F3A63B}" sibTransId="{B8E48FE3-33FA-4D0F-85ED-528B60FFB3CD}"/>
    <dgm:cxn modelId="{39B6ACB2-9C0E-4912-A7ED-FB98243AB0C3}" type="presOf" srcId="{32DF3C4E-39F1-4F60-853A-3903C6BAC555}" destId="{03049B3B-E20B-447D-9B7C-902EB62FCE0D}" srcOrd="1" destOrd="0" presId="urn:microsoft.com/office/officeart/2005/8/layout/vProcess5"/>
    <dgm:cxn modelId="{A25230BF-CD3A-4E54-AB8A-113AB1920A4F}" type="presOf" srcId="{F566DEFB-23C9-4379-B75F-6277BFCD31FC}" destId="{6B218F2E-295B-45A2-A062-189AB785D503}" srcOrd="1" destOrd="0" presId="urn:microsoft.com/office/officeart/2005/8/layout/vProcess5"/>
    <dgm:cxn modelId="{4069CDC5-60FD-4E84-B633-4D40F4B77F4F}" type="presOf" srcId="{F3D75C2F-1294-46BA-B5AD-E9FA22B882ED}" destId="{000FBEAA-AB6A-45C2-9EE4-5C794D4B8D1B}" srcOrd="0" destOrd="0" presId="urn:microsoft.com/office/officeart/2005/8/layout/vProcess5"/>
    <dgm:cxn modelId="{42E4E2F5-D4B4-6747-9F91-FDBF0AC17EB3}" type="presOf" srcId="{1105F431-6D09-492E-B11F-076C48856960}" destId="{D3737F17-A937-A648-99D1-A629892EF2F6}" srcOrd="0" destOrd="0" presId="urn:microsoft.com/office/officeart/2005/8/layout/vProcess5"/>
    <dgm:cxn modelId="{14DE50F6-FE47-408B-9B08-DC5923F6520C}" srcId="{1105F431-6D09-492E-B11F-076C48856960}" destId="{48957517-A38F-4018-A950-90A87E06022E}" srcOrd="0" destOrd="0" parTransId="{5481D9E3-EE9B-4495-B0EF-D3F4CC581CD0}" sibTransId="{F3D75C2F-1294-46BA-B5AD-E9FA22B882ED}"/>
    <dgm:cxn modelId="{C84DC594-D20E-4663-BA8D-5DEA15399098}" type="presParOf" srcId="{D3737F17-A937-A648-99D1-A629892EF2F6}" destId="{2F557C7B-8ED2-D14D-991C-6BB39AC817CF}" srcOrd="0" destOrd="0" presId="urn:microsoft.com/office/officeart/2005/8/layout/vProcess5"/>
    <dgm:cxn modelId="{D65F0D9E-935F-4432-99BE-EC2C57FA3FC2}" type="presParOf" srcId="{D3737F17-A937-A648-99D1-A629892EF2F6}" destId="{B87EFC89-E603-43A1-B411-B775771C31A7}" srcOrd="1" destOrd="0" presId="urn:microsoft.com/office/officeart/2005/8/layout/vProcess5"/>
    <dgm:cxn modelId="{84CAA97A-6D0F-4A4B-92F1-2A1E272B7568}" type="presParOf" srcId="{D3737F17-A937-A648-99D1-A629892EF2F6}" destId="{31519A5D-9248-4956-AD2C-E4627C8A4CD1}" srcOrd="2" destOrd="0" presId="urn:microsoft.com/office/officeart/2005/8/layout/vProcess5"/>
    <dgm:cxn modelId="{636B0EB8-CBB2-4BBE-998F-B28FD9F3F6BE}" type="presParOf" srcId="{D3737F17-A937-A648-99D1-A629892EF2F6}" destId="{CEA01939-3C51-4931-8DF2-C0684C468E5E}" srcOrd="3" destOrd="0" presId="urn:microsoft.com/office/officeart/2005/8/layout/vProcess5"/>
    <dgm:cxn modelId="{84F0183D-4083-4C3E-AA85-2FABBF33AE06}" type="presParOf" srcId="{D3737F17-A937-A648-99D1-A629892EF2F6}" destId="{00F0052E-28EE-4C50-AA3B-65D42C76208C}" srcOrd="4" destOrd="0" presId="urn:microsoft.com/office/officeart/2005/8/layout/vProcess5"/>
    <dgm:cxn modelId="{1B88CAD2-DB69-4B35-B777-9273A4A259C9}" type="presParOf" srcId="{D3737F17-A937-A648-99D1-A629892EF2F6}" destId="{000FBEAA-AB6A-45C2-9EE4-5C794D4B8D1B}" srcOrd="5" destOrd="0" presId="urn:microsoft.com/office/officeart/2005/8/layout/vProcess5"/>
    <dgm:cxn modelId="{265282C8-6BB3-4AD3-9C50-AE0C31C0D630}" type="presParOf" srcId="{D3737F17-A937-A648-99D1-A629892EF2F6}" destId="{1ECFAFFF-295B-479A-9F15-D3BF6C6C1812}" srcOrd="6" destOrd="0" presId="urn:microsoft.com/office/officeart/2005/8/layout/vProcess5"/>
    <dgm:cxn modelId="{56B08750-BD49-45BD-B69A-83A8DBE2004C}" type="presParOf" srcId="{D3737F17-A937-A648-99D1-A629892EF2F6}" destId="{64E3F23D-437A-4067-8A52-45CF39777610}" srcOrd="7" destOrd="0" presId="urn:microsoft.com/office/officeart/2005/8/layout/vProcess5"/>
    <dgm:cxn modelId="{E2553EA1-43FD-4826-8B50-4502DE7E810B}" type="presParOf" srcId="{D3737F17-A937-A648-99D1-A629892EF2F6}" destId="{02F83E8A-AD9C-42AB-9ABF-656DE47E58D5}" srcOrd="8" destOrd="0" presId="urn:microsoft.com/office/officeart/2005/8/layout/vProcess5"/>
    <dgm:cxn modelId="{1C9098A2-2C41-4272-833C-36C33935DF6E}" type="presParOf" srcId="{D3737F17-A937-A648-99D1-A629892EF2F6}" destId="{6B218F2E-295B-45A2-A062-189AB785D503}" srcOrd="9" destOrd="0" presId="urn:microsoft.com/office/officeart/2005/8/layout/vProcess5"/>
    <dgm:cxn modelId="{7EE5CF09-B136-449A-84E1-E0D8ABDEBBF9}" type="presParOf" srcId="{D3737F17-A937-A648-99D1-A629892EF2F6}" destId="{5F71D63E-E4DF-41DA-BB2D-D7618972315A}" srcOrd="10" destOrd="0" presId="urn:microsoft.com/office/officeart/2005/8/layout/vProcess5"/>
    <dgm:cxn modelId="{6F435423-77E6-4AC5-AD17-E87FA5F5E08D}" type="presParOf" srcId="{D3737F17-A937-A648-99D1-A629892EF2F6}" destId="{03049B3B-E20B-447D-9B7C-902EB62FCE0D}" srcOrd="11" destOrd="0" presId="urn:microsoft.com/office/officeart/2005/8/layout/vProcess5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35EBB65-57B3-43A6-8467-60F2A9E2A473}" type="doc">
      <dgm:prSet loTypeId="urn:microsoft.com/office/officeart/2018/2/layout/IconLabelList" loCatId="icon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6500113-95AF-4E03-9868-3EBA6B12F62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000" b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rPr>
            <a:t>Expand the model to cater to more categories.</a:t>
          </a:r>
        </a:p>
      </dgm:t>
    </dgm:pt>
    <dgm:pt modelId="{DACF552E-874D-4822-8399-BDA460374AC5}" type="parTrans" cxnId="{07181A90-8190-439F-A007-E949D709B9D7}">
      <dgm:prSet/>
      <dgm:spPr/>
      <dgm:t>
        <a:bodyPr/>
        <a:lstStyle/>
        <a:p>
          <a:endParaRPr lang="en-US">
            <a:latin typeface="Tw Cen MT" panose="020B0602020104020603" pitchFamily="34" charset="77"/>
            <a:cs typeface="Segoe UI" panose="020B0502040204020203" pitchFamily="34" charset="0"/>
          </a:endParaRPr>
        </a:p>
      </dgm:t>
    </dgm:pt>
    <dgm:pt modelId="{1E8EBEC7-DD33-479F-95EE-84206051B3CE}" type="sibTrans" cxnId="{07181A90-8190-439F-A007-E949D709B9D7}">
      <dgm:prSet/>
      <dgm:spPr/>
      <dgm:t>
        <a:bodyPr/>
        <a:lstStyle/>
        <a:p>
          <a:endParaRPr lang="en-US">
            <a:latin typeface="Tw Cen MT" panose="020B0602020104020603" pitchFamily="34" charset="77"/>
            <a:cs typeface="Segoe UI" panose="020B0502040204020203" pitchFamily="34" charset="0"/>
          </a:endParaRPr>
        </a:p>
      </dgm:t>
    </dgm:pt>
    <dgm:pt modelId="{7F7290A9-91E6-4850-9C2A-ADDDABD514E9}">
      <dgm:prSet phldr="0" custT="1"/>
      <dgm:spPr/>
      <dgm:t>
        <a:bodyPr/>
        <a:lstStyle/>
        <a:p>
          <a:pPr>
            <a:lnSpc>
              <a:spcPct val="100000"/>
            </a:lnSpc>
          </a:pPr>
          <a:r>
            <a:rPr lang="en-US" sz="2000" b="0" dirty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rPr>
            <a:t>Incorporate image processing and pricing for better predictions.</a:t>
          </a:r>
        </a:p>
      </dgm:t>
    </dgm:pt>
    <dgm:pt modelId="{FCFE5470-2DC1-4778-90F8-E320198C0F9E}" type="parTrans" cxnId="{35661670-0994-478F-96BB-15712E5366E0}">
      <dgm:prSet/>
      <dgm:spPr/>
      <dgm:t>
        <a:bodyPr/>
        <a:lstStyle/>
        <a:p>
          <a:endParaRPr lang="en-US">
            <a:latin typeface="Tw Cen MT" panose="020B0602020104020603" pitchFamily="34" charset="77"/>
            <a:cs typeface="Segoe UI" panose="020B0502040204020203" pitchFamily="34" charset="0"/>
          </a:endParaRPr>
        </a:p>
      </dgm:t>
    </dgm:pt>
    <dgm:pt modelId="{664AAFA7-2EBA-47CE-BDEF-CE505C2EFFD4}" type="sibTrans" cxnId="{35661670-0994-478F-96BB-15712E5366E0}">
      <dgm:prSet/>
      <dgm:spPr/>
      <dgm:t>
        <a:bodyPr/>
        <a:lstStyle/>
        <a:p>
          <a:endParaRPr lang="en-US">
            <a:latin typeface="Tw Cen MT" panose="020B0602020104020603" pitchFamily="34" charset="77"/>
            <a:cs typeface="Segoe UI" panose="020B0502040204020203" pitchFamily="34" charset="0"/>
          </a:endParaRPr>
        </a:p>
      </dgm:t>
    </dgm:pt>
    <dgm:pt modelId="{44C4AA17-342A-434F-BE80-CCA9013C751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000" b="0" dirty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rPr>
            <a:t>Conduct grid search or hyperparameter tuning to find the best parameters suited to our model. Can also ensemble best models.</a:t>
          </a:r>
        </a:p>
      </dgm:t>
    </dgm:pt>
    <dgm:pt modelId="{F8682BDA-D58A-405F-817A-42876BD6FF8F}" type="parTrans" cxnId="{92E30F2D-3A6A-48A1-B19C-50F40351DB40}">
      <dgm:prSet/>
      <dgm:spPr/>
      <dgm:t>
        <a:bodyPr/>
        <a:lstStyle/>
        <a:p>
          <a:endParaRPr lang="en-US">
            <a:latin typeface="Tw Cen MT" panose="020B0602020104020603" pitchFamily="34" charset="77"/>
            <a:cs typeface="Segoe UI" panose="020B0502040204020203" pitchFamily="34" charset="0"/>
          </a:endParaRPr>
        </a:p>
      </dgm:t>
    </dgm:pt>
    <dgm:pt modelId="{07AB96A2-B267-49D1-ACA1-84424A8ECA5F}" type="sibTrans" cxnId="{92E30F2D-3A6A-48A1-B19C-50F40351DB40}">
      <dgm:prSet/>
      <dgm:spPr/>
      <dgm:t>
        <a:bodyPr/>
        <a:lstStyle/>
        <a:p>
          <a:endParaRPr lang="en-US">
            <a:latin typeface="Tw Cen MT" panose="020B0602020104020603" pitchFamily="34" charset="77"/>
            <a:cs typeface="Segoe UI" panose="020B0502040204020203" pitchFamily="34" charset="0"/>
          </a:endParaRPr>
        </a:p>
      </dgm:t>
    </dgm:pt>
    <dgm:pt modelId="{6E2412A3-2055-4DEB-A786-FC11692CE12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000" b="0" dirty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rPr>
            <a:t>Improve the model to predict other subcategories by implementing external data in our model.</a:t>
          </a:r>
        </a:p>
      </dgm:t>
    </dgm:pt>
    <dgm:pt modelId="{5B25F363-F455-4EB8-8C12-4FF1923D4D77}" type="parTrans" cxnId="{76FA816E-2664-4F6D-B834-70631EB2D6B5}">
      <dgm:prSet/>
      <dgm:spPr/>
      <dgm:t>
        <a:bodyPr/>
        <a:lstStyle/>
        <a:p>
          <a:endParaRPr lang="en-US">
            <a:latin typeface="Tw Cen MT" panose="020B0602020104020603" pitchFamily="34" charset="77"/>
            <a:cs typeface="Segoe UI" panose="020B0502040204020203" pitchFamily="34" charset="0"/>
          </a:endParaRPr>
        </a:p>
      </dgm:t>
    </dgm:pt>
    <dgm:pt modelId="{21B4E231-D27A-470E-BE64-615AEDB3F937}" type="sibTrans" cxnId="{76FA816E-2664-4F6D-B834-70631EB2D6B5}">
      <dgm:prSet/>
      <dgm:spPr/>
      <dgm:t>
        <a:bodyPr/>
        <a:lstStyle/>
        <a:p>
          <a:endParaRPr lang="en-US">
            <a:latin typeface="Tw Cen MT" panose="020B0602020104020603" pitchFamily="34" charset="77"/>
            <a:cs typeface="Segoe UI" panose="020B0502040204020203" pitchFamily="34" charset="0"/>
          </a:endParaRPr>
        </a:p>
      </dgm:t>
    </dgm:pt>
    <dgm:pt modelId="{297DB4D6-4F90-415B-B086-6FB710BFC485}" type="pres">
      <dgm:prSet presAssocID="{035EBB65-57B3-43A6-8467-60F2A9E2A473}" presName="root" presStyleCnt="0">
        <dgm:presLayoutVars>
          <dgm:dir/>
          <dgm:resizeHandles val="exact"/>
        </dgm:presLayoutVars>
      </dgm:prSet>
      <dgm:spPr/>
    </dgm:pt>
    <dgm:pt modelId="{9CD5F352-2765-4946-9148-DA0E53A2E209}" type="pres">
      <dgm:prSet presAssocID="{46500113-95AF-4E03-9868-3EBA6B12F622}" presName="compNode" presStyleCnt="0"/>
      <dgm:spPr/>
    </dgm:pt>
    <dgm:pt modelId="{FD30D90A-1B6F-43F5-9F8C-22322DF9EDA9}" type="pres">
      <dgm:prSet presAssocID="{46500113-95AF-4E03-9868-3EBA6B12F622}" presName="iconRect" presStyleLbl="node1" presStyleIdx="0" presStyleCnt="4"/>
      <dgm:spPr>
        <a:noFill/>
      </dgm:spPr>
    </dgm:pt>
    <dgm:pt modelId="{CCC399C7-2B0A-4281-95B6-54F3EA0CF245}" type="pres">
      <dgm:prSet presAssocID="{46500113-95AF-4E03-9868-3EBA6B12F622}" presName="spaceRect" presStyleCnt="0"/>
      <dgm:spPr/>
    </dgm:pt>
    <dgm:pt modelId="{AC50E106-B70E-4901-AE0C-AB5F87530951}" type="pres">
      <dgm:prSet presAssocID="{46500113-95AF-4E03-9868-3EBA6B12F622}" presName="textRect" presStyleLbl="revTx" presStyleIdx="0" presStyleCnt="4">
        <dgm:presLayoutVars>
          <dgm:chMax val="1"/>
          <dgm:chPref val="1"/>
        </dgm:presLayoutVars>
      </dgm:prSet>
      <dgm:spPr/>
    </dgm:pt>
    <dgm:pt modelId="{3C16C87A-07F2-460A-9D00-E383DF834764}" type="pres">
      <dgm:prSet presAssocID="{1E8EBEC7-DD33-479F-95EE-84206051B3CE}" presName="sibTrans" presStyleCnt="0"/>
      <dgm:spPr/>
    </dgm:pt>
    <dgm:pt modelId="{80588C29-65F9-417B-9C9A-75B4C2D86BE5}" type="pres">
      <dgm:prSet presAssocID="{44C4AA17-342A-434F-BE80-CCA9013C7518}" presName="compNode" presStyleCnt="0"/>
      <dgm:spPr/>
    </dgm:pt>
    <dgm:pt modelId="{91843324-4FEB-4EDB-9464-BC229FF8CB64}" type="pres">
      <dgm:prSet presAssocID="{44C4AA17-342A-434F-BE80-CCA9013C7518}" presName="iconRect" presStyleLbl="node1" presStyleIdx="1" presStyleCnt="4"/>
      <dgm:spPr>
        <a:noFill/>
      </dgm:spPr>
    </dgm:pt>
    <dgm:pt modelId="{9B1DF64C-B048-49BA-916F-D8AB8103D520}" type="pres">
      <dgm:prSet presAssocID="{44C4AA17-342A-434F-BE80-CCA9013C7518}" presName="spaceRect" presStyleCnt="0"/>
      <dgm:spPr/>
    </dgm:pt>
    <dgm:pt modelId="{58A2CEC7-1E5B-4AB0-9332-5E47C9D4AE1E}" type="pres">
      <dgm:prSet presAssocID="{44C4AA17-342A-434F-BE80-CCA9013C7518}" presName="textRect" presStyleLbl="revTx" presStyleIdx="1" presStyleCnt="4" custScaleX="138963">
        <dgm:presLayoutVars>
          <dgm:chMax val="1"/>
          <dgm:chPref val="1"/>
        </dgm:presLayoutVars>
      </dgm:prSet>
      <dgm:spPr/>
    </dgm:pt>
    <dgm:pt modelId="{91856D41-E7AE-43B2-AFEF-C2BA6E535CB9}" type="pres">
      <dgm:prSet presAssocID="{07AB96A2-B267-49D1-ACA1-84424A8ECA5F}" presName="sibTrans" presStyleCnt="0"/>
      <dgm:spPr/>
    </dgm:pt>
    <dgm:pt modelId="{E7D63BF1-26B5-4A17-B40F-CA0819C6B834}" type="pres">
      <dgm:prSet presAssocID="{7F7290A9-91E6-4850-9C2A-ADDDABD514E9}" presName="compNode" presStyleCnt="0"/>
      <dgm:spPr/>
    </dgm:pt>
    <dgm:pt modelId="{C6F921E7-48FC-4AD2-B15D-EAE42B3BF65F}" type="pres">
      <dgm:prSet presAssocID="{7F7290A9-91E6-4850-9C2A-ADDDABD514E9}" presName="iconRect" presStyleLbl="node1" presStyleIdx="2" presStyleCnt="4"/>
      <dgm:spPr>
        <a:noFill/>
      </dgm:spPr>
    </dgm:pt>
    <dgm:pt modelId="{935B799F-A964-429F-905B-D53027E1038D}" type="pres">
      <dgm:prSet presAssocID="{7F7290A9-91E6-4850-9C2A-ADDDABD514E9}" presName="spaceRect" presStyleCnt="0"/>
      <dgm:spPr/>
    </dgm:pt>
    <dgm:pt modelId="{0BB2D745-EC46-4894-8D90-2C72D9E006AA}" type="pres">
      <dgm:prSet presAssocID="{7F7290A9-91E6-4850-9C2A-ADDDABD514E9}" presName="textRect" presStyleLbl="revTx" presStyleIdx="2" presStyleCnt="4" custLinFactNeighborX="-7628" custLinFactNeighborY="1647">
        <dgm:presLayoutVars>
          <dgm:chMax val="1"/>
          <dgm:chPref val="1"/>
        </dgm:presLayoutVars>
      </dgm:prSet>
      <dgm:spPr/>
    </dgm:pt>
    <dgm:pt modelId="{DF5B75A3-3A36-4B00-B92F-29A375558671}" type="pres">
      <dgm:prSet presAssocID="{664AAFA7-2EBA-47CE-BDEF-CE505C2EFFD4}" presName="sibTrans" presStyleCnt="0"/>
      <dgm:spPr/>
    </dgm:pt>
    <dgm:pt modelId="{788456FC-5D46-4101-917E-189EE7E6F3DF}" type="pres">
      <dgm:prSet presAssocID="{6E2412A3-2055-4DEB-A786-FC11692CE12D}" presName="compNode" presStyleCnt="0"/>
      <dgm:spPr/>
    </dgm:pt>
    <dgm:pt modelId="{3141E404-7C57-4491-91F2-2250436E0A44}" type="pres">
      <dgm:prSet presAssocID="{6E2412A3-2055-4DEB-A786-FC11692CE12D}" presName="iconRect" presStyleLbl="node1" presStyleIdx="3" presStyleCnt="4"/>
      <dgm:spPr>
        <a:noFill/>
      </dgm:spPr>
    </dgm:pt>
    <dgm:pt modelId="{125042FC-9D3A-4D0B-8AEE-A1707A1E8273}" type="pres">
      <dgm:prSet presAssocID="{6E2412A3-2055-4DEB-A786-FC11692CE12D}" presName="spaceRect" presStyleCnt="0"/>
      <dgm:spPr/>
    </dgm:pt>
    <dgm:pt modelId="{0936F356-CA72-4CE4-9AEE-5E6466D63D5D}" type="pres">
      <dgm:prSet presAssocID="{6E2412A3-2055-4DEB-A786-FC11692CE12D}" presName="textRect" presStyleLbl="revTx" presStyleIdx="3" presStyleCnt="4" custLinFactNeighborX="-5807" custLinFactNeighborY="1647">
        <dgm:presLayoutVars>
          <dgm:chMax val="1"/>
          <dgm:chPref val="1"/>
        </dgm:presLayoutVars>
      </dgm:prSet>
      <dgm:spPr/>
    </dgm:pt>
  </dgm:ptLst>
  <dgm:cxnLst>
    <dgm:cxn modelId="{7A444B0E-2D9B-4A4E-9BFD-804A6F45B3FB}" type="presOf" srcId="{035EBB65-57B3-43A6-8467-60F2A9E2A473}" destId="{297DB4D6-4F90-415B-B086-6FB710BFC485}" srcOrd="0" destOrd="0" presId="urn:microsoft.com/office/officeart/2018/2/layout/IconLabelList"/>
    <dgm:cxn modelId="{7C98051C-188B-4C25-9364-8F41419FDAF3}" type="presOf" srcId="{44C4AA17-342A-434F-BE80-CCA9013C7518}" destId="{58A2CEC7-1E5B-4AB0-9332-5E47C9D4AE1E}" srcOrd="0" destOrd="0" presId="urn:microsoft.com/office/officeart/2018/2/layout/IconLabelList"/>
    <dgm:cxn modelId="{92E30F2D-3A6A-48A1-B19C-50F40351DB40}" srcId="{035EBB65-57B3-43A6-8467-60F2A9E2A473}" destId="{44C4AA17-342A-434F-BE80-CCA9013C7518}" srcOrd="1" destOrd="0" parTransId="{F8682BDA-D58A-405F-817A-42876BD6FF8F}" sibTransId="{07AB96A2-B267-49D1-ACA1-84424A8ECA5F}"/>
    <dgm:cxn modelId="{76FA816E-2664-4F6D-B834-70631EB2D6B5}" srcId="{035EBB65-57B3-43A6-8467-60F2A9E2A473}" destId="{6E2412A3-2055-4DEB-A786-FC11692CE12D}" srcOrd="3" destOrd="0" parTransId="{5B25F363-F455-4EB8-8C12-4FF1923D4D77}" sibTransId="{21B4E231-D27A-470E-BE64-615AEDB3F937}"/>
    <dgm:cxn modelId="{35661670-0994-478F-96BB-15712E5366E0}" srcId="{035EBB65-57B3-43A6-8467-60F2A9E2A473}" destId="{7F7290A9-91E6-4850-9C2A-ADDDABD514E9}" srcOrd="2" destOrd="0" parTransId="{FCFE5470-2DC1-4778-90F8-E320198C0F9E}" sibTransId="{664AAFA7-2EBA-47CE-BDEF-CE505C2EFFD4}"/>
    <dgm:cxn modelId="{4CF60955-5480-4CA0-8388-384B3BF3991C}" type="presOf" srcId="{6E2412A3-2055-4DEB-A786-FC11692CE12D}" destId="{0936F356-CA72-4CE4-9AEE-5E6466D63D5D}" srcOrd="0" destOrd="0" presId="urn:microsoft.com/office/officeart/2018/2/layout/IconLabelList"/>
    <dgm:cxn modelId="{940E3A8B-2FF7-420B-98FB-8EC8871F9BD3}" type="presOf" srcId="{7F7290A9-91E6-4850-9C2A-ADDDABD514E9}" destId="{0BB2D745-EC46-4894-8D90-2C72D9E006AA}" srcOrd="0" destOrd="0" presId="urn:microsoft.com/office/officeart/2018/2/layout/IconLabelList"/>
    <dgm:cxn modelId="{07181A90-8190-439F-A007-E949D709B9D7}" srcId="{035EBB65-57B3-43A6-8467-60F2A9E2A473}" destId="{46500113-95AF-4E03-9868-3EBA6B12F622}" srcOrd="0" destOrd="0" parTransId="{DACF552E-874D-4822-8399-BDA460374AC5}" sibTransId="{1E8EBEC7-DD33-479F-95EE-84206051B3CE}"/>
    <dgm:cxn modelId="{6FE9BDED-9DB1-4FAA-A5BB-D726344C0729}" type="presOf" srcId="{46500113-95AF-4E03-9868-3EBA6B12F622}" destId="{AC50E106-B70E-4901-AE0C-AB5F87530951}" srcOrd="0" destOrd="0" presId="urn:microsoft.com/office/officeart/2018/2/layout/IconLabelList"/>
    <dgm:cxn modelId="{D7C2404F-8548-4DB5-870A-1DEAF8293490}" type="presParOf" srcId="{297DB4D6-4F90-415B-B086-6FB710BFC485}" destId="{9CD5F352-2765-4946-9148-DA0E53A2E209}" srcOrd="0" destOrd="0" presId="urn:microsoft.com/office/officeart/2018/2/layout/IconLabelList"/>
    <dgm:cxn modelId="{29D83B6E-B168-4E22-814B-B05863014099}" type="presParOf" srcId="{9CD5F352-2765-4946-9148-DA0E53A2E209}" destId="{FD30D90A-1B6F-43F5-9F8C-22322DF9EDA9}" srcOrd="0" destOrd="0" presId="urn:microsoft.com/office/officeart/2018/2/layout/IconLabelList"/>
    <dgm:cxn modelId="{2BFF8CAE-0ABE-4329-928A-2C8DCD8F73CC}" type="presParOf" srcId="{9CD5F352-2765-4946-9148-DA0E53A2E209}" destId="{CCC399C7-2B0A-4281-95B6-54F3EA0CF245}" srcOrd="1" destOrd="0" presId="urn:microsoft.com/office/officeart/2018/2/layout/IconLabelList"/>
    <dgm:cxn modelId="{4F73289F-3F80-4C14-979C-E2129EB9E1A1}" type="presParOf" srcId="{9CD5F352-2765-4946-9148-DA0E53A2E209}" destId="{AC50E106-B70E-4901-AE0C-AB5F87530951}" srcOrd="2" destOrd="0" presId="urn:microsoft.com/office/officeart/2018/2/layout/IconLabelList"/>
    <dgm:cxn modelId="{B8525137-1072-475A-B361-2784BE34CF58}" type="presParOf" srcId="{297DB4D6-4F90-415B-B086-6FB710BFC485}" destId="{3C16C87A-07F2-460A-9D00-E383DF834764}" srcOrd="1" destOrd="0" presId="urn:microsoft.com/office/officeart/2018/2/layout/IconLabelList"/>
    <dgm:cxn modelId="{F13B4BB2-6898-423F-B8BD-48DE1630D064}" type="presParOf" srcId="{297DB4D6-4F90-415B-B086-6FB710BFC485}" destId="{80588C29-65F9-417B-9C9A-75B4C2D86BE5}" srcOrd="2" destOrd="0" presId="urn:microsoft.com/office/officeart/2018/2/layout/IconLabelList"/>
    <dgm:cxn modelId="{66E17FDD-427E-43ED-B2B4-4C91B352902F}" type="presParOf" srcId="{80588C29-65F9-417B-9C9A-75B4C2D86BE5}" destId="{91843324-4FEB-4EDB-9464-BC229FF8CB64}" srcOrd="0" destOrd="0" presId="urn:microsoft.com/office/officeart/2018/2/layout/IconLabelList"/>
    <dgm:cxn modelId="{CE50E7DD-DA38-4D6B-82D6-8257050FB220}" type="presParOf" srcId="{80588C29-65F9-417B-9C9A-75B4C2D86BE5}" destId="{9B1DF64C-B048-49BA-916F-D8AB8103D520}" srcOrd="1" destOrd="0" presId="urn:microsoft.com/office/officeart/2018/2/layout/IconLabelList"/>
    <dgm:cxn modelId="{B4C722E6-7973-4C85-AAAC-4210547C42C3}" type="presParOf" srcId="{80588C29-65F9-417B-9C9A-75B4C2D86BE5}" destId="{58A2CEC7-1E5B-4AB0-9332-5E47C9D4AE1E}" srcOrd="2" destOrd="0" presId="urn:microsoft.com/office/officeart/2018/2/layout/IconLabelList"/>
    <dgm:cxn modelId="{51F8C27C-2A64-46E1-AA80-4937C3A64DE9}" type="presParOf" srcId="{297DB4D6-4F90-415B-B086-6FB710BFC485}" destId="{91856D41-E7AE-43B2-AFEF-C2BA6E535CB9}" srcOrd="3" destOrd="0" presId="urn:microsoft.com/office/officeart/2018/2/layout/IconLabelList"/>
    <dgm:cxn modelId="{D412A316-8489-479E-A162-87F7307C1FF8}" type="presParOf" srcId="{297DB4D6-4F90-415B-B086-6FB710BFC485}" destId="{E7D63BF1-26B5-4A17-B40F-CA0819C6B834}" srcOrd="4" destOrd="0" presId="urn:microsoft.com/office/officeart/2018/2/layout/IconLabelList"/>
    <dgm:cxn modelId="{64DD3222-E160-4033-9FC6-FB88F50AF7D1}" type="presParOf" srcId="{E7D63BF1-26B5-4A17-B40F-CA0819C6B834}" destId="{C6F921E7-48FC-4AD2-B15D-EAE42B3BF65F}" srcOrd="0" destOrd="0" presId="urn:microsoft.com/office/officeart/2018/2/layout/IconLabelList"/>
    <dgm:cxn modelId="{5ABDB4CB-E56B-4E5D-9B0C-69FD1AA31D72}" type="presParOf" srcId="{E7D63BF1-26B5-4A17-B40F-CA0819C6B834}" destId="{935B799F-A964-429F-905B-D53027E1038D}" srcOrd="1" destOrd="0" presId="urn:microsoft.com/office/officeart/2018/2/layout/IconLabelList"/>
    <dgm:cxn modelId="{42600451-EF95-45E4-9CA0-9309C96F82CA}" type="presParOf" srcId="{E7D63BF1-26B5-4A17-B40F-CA0819C6B834}" destId="{0BB2D745-EC46-4894-8D90-2C72D9E006AA}" srcOrd="2" destOrd="0" presId="urn:microsoft.com/office/officeart/2018/2/layout/IconLabelList"/>
    <dgm:cxn modelId="{66B443E8-9570-4ABB-9498-F2BE23532147}" type="presParOf" srcId="{297DB4D6-4F90-415B-B086-6FB710BFC485}" destId="{DF5B75A3-3A36-4B00-B92F-29A375558671}" srcOrd="5" destOrd="0" presId="urn:microsoft.com/office/officeart/2018/2/layout/IconLabelList"/>
    <dgm:cxn modelId="{4ECA5CBA-03DA-4073-ACD8-BF60BDFE8451}" type="presParOf" srcId="{297DB4D6-4F90-415B-B086-6FB710BFC485}" destId="{788456FC-5D46-4101-917E-189EE7E6F3DF}" srcOrd="6" destOrd="0" presId="urn:microsoft.com/office/officeart/2018/2/layout/IconLabelList"/>
    <dgm:cxn modelId="{AE70A884-EC63-410B-AD64-2174D187E55B}" type="presParOf" srcId="{788456FC-5D46-4101-917E-189EE7E6F3DF}" destId="{3141E404-7C57-4491-91F2-2250436E0A44}" srcOrd="0" destOrd="0" presId="urn:microsoft.com/office/officeart/2018/2/layout/IconLabelList"/>
    <dgm:cxn modelId="{EEB0828B-AD0F-417E-A031-C1E4D7A1972F}" type="presParOf" srcId="{788456FC-5D46-4101-917E-189EE7E6F3DF}" destId="{125042FC-9D3A-4D0B-8AEE-A1707A1E8273}" srcOrd="1" destOrd="0" presId="urn:microsoft.com/office/officeart/2018/2/layout/IconLabelList"/>
    <dgm:cxn modelId="{08EC8507-245C-496C-AD71-49D217BDD3D6}" type="presParOf" srcId="{788456FC-5D46-4101-917E-189EE7E6F3DF}" destId="{0936F356-CA72-4CE4-9AEE-5E6466D63D5D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578C45-D635-4527-A147-3BC65F22BB68}">
      <dsp:nvSpPr>
        <dsp:cNvPr id="0" name=""/>
        <dsp:cNvSpPr/>
      </dsp:nvSpPr>
      <dsp:spPr>
        <a:xfrm>
          <a:off x="316842" y="1119337"/>
          <a:ext cx="977906" cy="977906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B2371A9-4879-4424-8C4C-211FF1918D18}">
      <dsp:nvSpPr>
        <dsp:cNvPr id="0" name=""/>
        <dsp:cNvSpPr/>
      </dsp:nvSpPr>
      <dsp:spPr>
        <a:xfrm>
          <a:off x="525248" y="1327743"/>
          <a:ext cx="561093" cy="56109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E3494A-3F94-422A-B323-BBDC7F3535F0}">
      <dsp:nvSpPr>
        <dsp:cNvPr id="0" name=""/>
        <dsp:cNvSpPr/>
      </dsp:nvSpPr>
      <dsp:spPr>
        <a:xfrm>
          <a:off x="4232" y="2401837"/>
          <a:ext cx="1603125" cy="641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400" b="0" i="0" kern="1200">
              <a:latin typeface="Segoe UI" panose="020B0502040204020203" pitchFamily="34" charset="0"/>
              <a:cs typeface="Segoe UI" panose="020B0502040204020203" pitchFamily="34" charset="0"/>
            </a:rPr>
            <a:t>About client</a:t>
          </a:r>
        </a:p>
      </dsp:txBody>
      <dsp:txXfrm>
        <a:off x="4232" y="2401837"/>
        <a:ext cx="1603125" cy="641250"/>
      </dsp:txXfrm>
    </dsp:sp>
    <dsp:sp modelId="{46C2011D-9F1C-4E5D-A446-A7F48630EC12}">
      <dsp:nvSpPr>
        <dsp:cNvPr id="0" name=""/>
        <dsp:cNvSpPr/>
      </dsp:nvSpPr>
      <dsp:spPr>
        <a:xfrm>
          <a:off x="2200514" y="1119337"/>
          <a:ext cx="977906" cy="977906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8C6C42-B592-42BA-B0EB-A4923DC16AC1}">
      <dsp:nvSpPr>
        <dsp:cNvPr id="0" name=""/>
        <dsp:cNvSpPr/>
      </dsp:nvSpPr>
      <dsp:spPr>
        <a:xfrm>
          <a:off x="2408920" y="1327743"/>
          <a:ext cx="561093" cy="56109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6A35A0-5387-41F7-A8CD-DA637E42D5AA}">
      <dsp:nvSpPr>
        <dsp:cNvPr id="0" name=""/>
        <dsp:cNvSpPr/>
      </dsp:nvSpPr>
      <dsp:spPr>
        <a:xfrm>
          <a:off x="1887904" y="2401837"/>
          <a:ext cx="1603125" cy="641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400" b="0" i="0" kern="1200">
              <a:latin typeface="Segoe UI" panose="020B0502040204020203" pitchFamily="34" charset="0"/>
              <a:cs typeface="Segoe UI" panose="020B0502040204020203" pitchFamily="34" charset="0"/>
            </a:rPr>
            <a:t>Business Problem</a:t>
          </a:r>
        </a:p>
      </dsp:txBody>
      <dsp:txXfrm>
        <a:off x="1887904" y="2401837"/>
        <a:ext cx="1603125" cy="641250"/>
      </dsp:txXfrm>
    </dsp:sp>
    <dsp:sp modelId="{8E62BAEC-E32B-4708-93E4-F3A1174B1DB4}">
      <dsp:nvSpPr>
        <dsp:cNvPr id="0" name=""/>
        <dsp:cNvSpPr/>
      </dsp:nvSpPr>
      <dsp:spPr>
        <a:xfrm>
          <a:off x="4084185" y="1119337"/>
          <a:ext cx="977906" cy="977906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7A30C8-72E3-457A-B66F-CA0786B6F415}">
      <dsp:nvSpPr>
        <dsp:cNvPr id="0" name=""/>
        <dsp:cNvSpPr/>
      </dsp:nvSpPr>
      <dsp:spPr>
        <a:xfrm>
          <a:off x="4292592" y="1327743"/>
          <a:ext cx="561093" cy="561093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B75A77-1036-40B5-B268-A8C3DC4BA55A}">
      <dsp:nvSpPr>
        <dsp:cNvPr id="0" name=""/>
        <dsp:cNvSpPr/>
      </dsp:nvSpPr>
      <dsp:spPr>
        <a:xfrm>
          <a:off x="3771576" y="2401837"/>
          <a:ext cx="1603125" cy="641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400" b="0" i="0" kern="1200">
              <a:latin typeface="Segoe UI" panose="020B0502040204020203" pitchFamily="34" charset="0"/>
              <a:cs typeface="Segoe UI" panose="020B0502040204020203" pitchFamily="34" charset="0"/>
            </a:rPr>
            <a:t>Executive Summary</a:t>
          </a:r>
        </a:p>
      </dsp:txBody>
      <dsp:txXfrm>
        <a:off x="3771576" y="2401837"/>
        <a:ext cx="1603125" cy="641250"/>
      </dsp:txXfrm>
    </dsp:sp>
    <dsp:sp modelId="{CB1716DE-0280-4F11-868A-E581FCBE6924}">
      <dsp:nvSpPr>
        <dsp:cNvPr id="0" name=""/>
        <dsp:cNvSpPr/>
      </dsp:nvSpPr>
      <dsp:spPr>
        <a:xfrm>
          <a:off x="5967857" y="1119337"/>
          <a:ext cx="977906" cy="977906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667DB4-E438-4AEF-BDB2-43797BCFFF5E}">
      <dsp:nvSpPr>
        <dsp:cNvPr id="0" name=""/>
        <dsp:cNvSpPr/>
      </dsp:nvSpPr>
      <dsp:spPr>
        <a:xfrm>
          <a:off x="6176264" y="1327743"/>
          <a:ext cx="561093" cy="561093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8B09EB-7710-4F59-99BD-64074CC6FBE5}">
      <dsp:nvSpPr>
        <dsp:cNvPr id="0" name=""/>
        <dsp:cNvSpPr/>
      </dsp:nvSpPr>
      <dsp:spPr>
        <a:xfrm>
          <a:off x="5655248" y="2401837"/>
          <a:ext cx="1603125" cy="641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400" b="0" i="0" kern="1200">
              <a:latin typeface="Segoe UI" panose="020B0502040204020203" pitchFamily="34" charset="0"/>
              <a:cs typeface="Segoe UI" panose="020B0502040204020203" pitchFamily="34" charset="0"/>
            </a:rPr>
            <a:t>Scope &amp; Methodology</a:t>
          </a:r>
        </a:p>
      </dsp:txBody>
      <dsp:txXfrm>
        <a:off x="5655248" y="2401837"/>
        <a:ext cx="1603125" cy="641250"/>
      </dsp:txXfrm>
    </dsp:sp>
    <dsp:sp modelId="{7F948EAB-5611-4CBC-A733-2C8811070462}">
      <dsp:nvSpPr>
        <dsp:cNvPr id="0" name=""/>
        <dsp:cNvSpPr/>
      </dsp:nvSpPr>
      <dsp:spPr>
        <a:xfrm>
          <a:off x="7851529" y="1119337"/>
          <a:ext cx="977906" cy="977906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334CF2-3D43-4DC9-84CB-7B22BE37C937}">
      <dsp:nvSpPr>
        <dsp:cNvPr id="0" name=""/>
        <dsp:cNvSpPr/>
      </dsp:nvSpPr>
      <dsp:spPr>
        <a:xfrm>
          <a:off x="8059935" y="1327743"/>
          <a:ext cx="561093" cy="561093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65D245-45D4-4650-A445-46D85EAC4C61}">
      <dsp:nvSpPr>
        <dsp:cNvPr id="0" name=""/>
        <dsp:cNvSpPr/>
      </dsp:nvSpPr>
      <dsp:spPr>
        <a:xfrm>
          <a:off x="7538920" y="2401837"/>
          <a:ext cx="1603125" cy="641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400" b="0" i="0" kern="1200">
              <a:latin typeface="Segoe UI" panose="020B0502040204020203" pitchFamily="34" charset="0"/>
              <a:cs typeface="Segoe UI" panose="020B0502040204020203" pitchFamily="34" charset="0"/>
            </a:rPr>
            <a:t>Modelling</a:t>
          </a:r>
        </a:p>
      </dsp:txBody>
      <dsp:txXfrm>
        <a:off x="7538920" y="2401837"/>
        <a:ext cx="1603125" cy="641250"/>
      </dsp:txXfrm>
    </dsp:sp>
    <dsp:sp modelId="{04D2C773-7F4B-4E14-ACCF-752BD0E20107}">
      <dsp:nvSpPr>
        <dsp:cNvPr id="0" name=""/>
        <dsp:cNvSpPr/>
      </dsp:nvSpPr>
      <dsp:spPr>
        <a:xfrm>
          <a:off x="9735201" y="1119337"/>
          <a:ext cx="977906" cy="977906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1816BC-58FE-49E0-8B83-F84E02B761D1}">
      <dsp:nvSpPr>
        <dsp:cNvPr id="0" name=""/>
        <dsp:cNvSpPr/>
      </dsp:nvSpPr>
      <dsp:spPr>
        <a:xfrm>
          <a:off x="9943607" y="1327743"/>
          <a:ext cx="561093" cy="561093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776FF8-43EC-49A0-8888-DF6F0B3B9743}">
      <dsp:nvSpPr>
        <dsp:cNvPr id="0" name=""/>
        <dsp:cNvSpPr/>
      </dsp:nvSpPr>
      <dsp:spPr>
        <a:xfrm>
          <a:off x="9422592" y="2401837"/>
          <a:ext cx="1603125" cy="641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400" b="0" i="0" kern="1200">
              <a:latin typeface="Segoe UI" panose="020B0502040204020203" pitchFamily="34" charset="0"/>
              <a:cs typeface="Segoe UI" panose="020B0502040204020203" pitchFamily="34" charset="0"/>
            </a:rPr>
            <a:t>Conclusions &amp; RECOMMENDATIONS</a:t>
          </a:r>
        </a:p>
      </dsp:txBody>
      <dsp:txXfrm>
        <a:off x="9422592" y="2401837"/>
        <a:ext cx="1603125" cy="64125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7EFC89-E603-43A1-B411-B775771C31A7}">
      <dsp:nvSpPr>
        <dsp:cNvPr id="0" name=""/>
        <dsp:cNvSpPr/>
      </dsp:nvSpPr>
      <dsp:spPr>
        <a:xfrm>
          <a:off x="0" y="0"/>
          <a:ext cx="8823960" cy="1013736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solidFill>
                <a:schemeClr val="tx2"/>
              </a:solidFill>
              <a:latin typeface="Tw Cen MT" panose="020B0502020104020203"/>
            </a:rPr>
            <a:t>Attained model accuracy of 95% using linear SVC</a:t>
          </a:r>
          <a:endParaRPr lang="en-US" sz="2400" kern="1200">
            <a:solidFill>
              <a:schemeClr val="tx2"/>
            </a:solidFill>
          </a:endParaRPr>
        </a:p>
      </dsp:txBody>
      <dsp:txXfrm>
        <a:off x="29691" y="29691"/>
        <a:ext cx="7644398" cy="954354"/>
      </dsp:txXfrm>
    </dsp:sp>
    <dsp:sp modelId="{31519A5D-9248-4956-AD2C-E4627C8A4CD1}">
      <dsp:nvSpPr>
        <dsp:cNvPr id="0" name=""/>
        <dsp:cNvSpPr/>
      </dsp:nvSpPr>
      <dsp:spPr>
        <a:xfrm>
          <a:off x="739006" y="1198052"/>
          <a:ext cx="8823960" cy="1013736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2"/>
              </a:solidFill>
              <a:latin typeface="Tw Cen MT" panose="020B0502020104020203"/>
            </a:rPr>
            <a:t>Correctly classified ~6% ads in general category related to ‘cars + trucks’ and ‘beauty + health’ categories.</a:t>
          </a:r>
        </a:p>
      </dsp:txBody>
      <dsp:txXfrm>
        <a:off x="768697" y="1227743"/>
        <a:ext cx="7366642" cy="954354"/>
      </dsp:txXfrm>
    </dsp:sp>
    <dsp:sp modelId="{CEA01939-3C51-4931-8DF2-C0684C468E5E}">
      <dsp:nvSpPr>
        <dsp:cNvPr id="0" name=""/>
        <dsp:cNvSpPr/>
      </dsp:nvSpPr>
      <dsp:spPr>
        <a:xfrm>
          <a:off x="1466983" y="2396105"/>
          <a:ext cx="8823960" cy="1013736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solidFill>
                <a:schemeClr val="tx2"/>
              </a:solidFill>
              <a:latin typeface="Tw Cen MT" panose="020B0502020104020203"/>
            </a:rPr>
            <a:t>Our model saves the manual work of tagging the ads by craigslist</a:t>
          </a:r>
          <a:endParaRPr lang="en-US" sz="2400" kern="1200">
            <a:solidFill>
              <a:schemeClr val="tx2"/>
            </a:solidFill>
          </a:endParaRPr>
        </a:p>
      </dsp:txBody>
      <dsp:txXfrm>
        <a:off x="1496674" y="2425796"/>
        <a:ext cx="7377672" cy="954354"/>
      </dsp:txXfrm>
    </dsp:sp>
    <dsp:sp modelId="{00F0052E-28EE-4C50-AA3B-65D42C76208C}">
      <dsp:nvSpPr>
        <dsp:cNvPr id="0" name=""/>
        <dsp:cNvSpPr/>
      </dsp:nvSpPr>
      <dsp:spPr>
        <a:xfrm>
          <a:off x="2205989" y="3594158"/>
          <a:ext cx="8823960" cy="1013736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solidFill>
                <a:schemeClr val="tx2"/>
              </a:solidFill>
              <a:latin typeface="Tw Cen MT" panose="020B0502020104020203"/>
            </a:rPr>
            <a:t>Since, we cater to our customers, they don’t switch to other platforms to post their ads.</a:t>
          </a:r>
        </a:p>
      </dsp:txBody>
      <dsp:txXfrm>
        <a:off x="2235680" y="3623849"/>
        <a:ext cx="7366642" cy="954354"/>
      </dsp:txXfrm>
    </dsp:sp>
    <dsp:sp modelId="{000FBEAA-AB6A-45C2-9EE4-5C794D4B8D1B}">
      <dsp:nvSpPr>
        <dsp:cNvPr id="0" name=""/>
        <dsp:cNvSpPr/>
      </dsp:nvSpPr>
      <dsp:spPr>
        <a:xfrm>
          <a:off x="8165031" y="776430"/>
          <a:ext cx="658928" cy="658928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0" kern="1200"/>
        </a:p>
      </dsp:txBody>
      <dsp:txXfrm>
        <a:off x="8313290" y="776430"/>
        <a:ext cx="362410" cy="495843"/>
      </dsp:txXfrm>
    </dsp:sp>
    <dsp:sp modelId="{1ECFAFFF-295B-479A-9F15-D3BF6C6C1812}">
      <dsp:nvSpPr>
        <dsp:cNvPr id="0" name=""/>
        <dsp:cNvSpPr/>
      </dsp:nvSpPr>
      <dsp:spPr>
        <a:xfrm>
          <a:off x="8904037" y="1974483"/>
          <a:ext cx="658928" cy="658928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-3369881"/>
            <a:satOff val="-11416"/>
            <a:lumOff val="-1464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0" kern="1200"/>
        </a:p>
      </dsp:txBody>
      <dsp:txXfrm>
        <a:off x="9052296" y="1974483"/>
        <a:ext cx="362410" cy="495843"/>
      </dsp:txXfrm>
    </dsp:sp>
    <dsp:sp modelId="{64E3F23D-437A-4067-8A52-45CF39777610}">
      <dsp:nvSpPr>
        <dsp:cNvPr id="0" name=""/>
        <dsp:cNvSpPr/>
      </dsp:nvSpPr>
      <dsp:spPr>
        <a:xfrm>
          <a:off x="9632014" y="3172535"/>
          <a:ext cx="658928" cy="658928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-6739762"/>
            <a:satOff val="-22832"/>
            <a:lumOff val="-2928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0" kern="1200"/>
        </a:p>
      </dsp:txBody>
      <dsp:txXfrm>
        <a:off x="9780273" y="3172535"/>
        <a:ext cx="362410" cy="49584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30D90A-1B6F-43F5-9F8C-22322DF9EDA9}">
      <dsp:nvSpPr>
        <dsp:cNvPr id="0" name=""/>
        <dsp:cNvSpPr/>
      </dsp:nvSpPr>
      <dsp:spPr>
        <a:xfrm>
          <a:off x="957205" y="845503"/>
          <a:ext cx="939791" cy="939791"/>
        </a:xfrm>
        <a:prstGeom prst="rect">
          <a:avLst/>
        </a:prstGeom>
        <a:noFill/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C50E106-B70E-4901-AE0C-AB5F87530951}">
      <dsp:nvSpPr>
        <dsp:cNvPr id="0" name=""/>
        <dsp:cNvSpPr/>
      </dsp:nvSpPr>
      <dsp:spPr>
        <a:xfrm>
          <a:off x="382888" y="2245163"/>
          <a:ext cx="2088425" cy="166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rPr>
            <a:t>Expand the model to cater to more categories.</a:t>
          </a:r>
        </a:p>
      </dsp:txBody>
      <dsp:txXfrm>
        <a:off x="382888" y="2245163"/>
        <a:ext cx="2088425" cy="1665000"/>
      </dsp:txXfrm>
    </dsp:sp>
    <dsp:sp modelId="{91843324-4FEB-4EDB-9464-BC229FF8CB64}">
      <dsp:nvSpPr>
        <dsp:cNvPr id="0" name=""/>
        <dsp:cNvSpPr/>
      </dsp:nvSpPr>
      <dsp:spPr>
        <a:xfrm>
          <a:off x="3817961" y="845503"/>
          <a:ext cx="939791" cy="939791"/>
        </a:xfrm>
        <a:prstGeom prst="rect">
          <a:avLst/>
        </a:prstGeom>
        <a:noFill/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58A2CEC7-1E5B-4AB0-9332-5E47C9D4AE1E}">
      <dsp:nvSpPr>
        <dsp:cNvPr id="0" name=""/>
        <dsp:cNvSpPr/>
      </dsp:nvSpPr>
      <dsp:spPr>
        <a:xfrm>
          <a:off x="2836788" y="2245163"/>
          <a:ext cx="2902138" cy="166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rPr>
            <a:t>Conduct grid search or hyperparameter tuning to find the best parameters suited to our model. Can also ensemble best models.</a:t>
          </a:r>
        </a:p>
      </dsp:txBody>
      <dsp:txXfrm>
        <a:off x="2836788" y="2245163"/>
        <a:ext cx="2902138" cy="1665000"/>
      </dsp:txXfrm>
    </dsp:sp>
    <dsp:sp modelId="{C6F921E7-48FC-4AD2-B15D-EAE42B3BF65F}">
      <dsp:nvSpPr>
        <dsp:cNvPr id="0" name=""/>
        <dsp:cNvSpPr/>
      </dsp:nvSpPr>
      <dsp:spPr>
        <a:xfrm>
          <a:off x="6678718" y="845503"/>
          <a:ext cx="939791" cy="939791"/>
        </a:xfrm>
        <a:prstGeom prst="rect">
          <a:avLst/>
        </a:prstGeom>
        <a:noFill/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BB2D745-EC46-4894-8D90-2C72D9E006AA}">
      <dsp:nvSpPr>
        <dsp:cNvPr id="0" name=""/>
        <dsp:cNvSpPr/>
      </dsp:nvSpPr>
      <dsp:spPr>
        <a:xfrm>
          <a:off x="5945096" y="2272585"/>
          <a:ext cx="2088425" cy="166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rPr>
            <a:t>Incorporate image processing and pricing for better predictions.</a:t>
          </a:r>
        </a:p>
      </dsp:txBody>
      <dsp:txXfrm>
        <a:off x="5945096" y="2272585"/>
        <a:ext cx="2088425" cy="1665000"/>
      </dsp:txXfrm>
    </dsp:sp>
    <dsp:sp modelId="{3141E404-7C57-4491-91F2-2250436E0A44}">
      <dsp:nvSpPr>
        <dsp:cNvPr id="0" name=""/>
        <dsp:cNvSpPr/>
      </dsp:nvSpPr>
      <dsp:spPr>
        <a:xfrm>
          <a:off x="9132618" y="845503"/>
          <a:ext cx="939791" cy="939791"/>
        </a:xfrm>
        <a:prstGeom prst="rect">
          <a:avLst/>
        </a:prstGeom>
        <a:noFill/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936F356-CA72-4CE4-9AEE-5E6466D63D5D}">
      <dsp:nvSpPr>
        <dsp:cNvPr id="0" name=""/>
        <dsp:cNvSpPr/>
      </dsp:nvSpPr>
      <dsp:spPr>
        <a:xfrm>
          <a:off x="8437026" y="2272585"/>
          <a:ext cx="2088425" cy="166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rPr>
            <a:t>Improve the model to predict other subcategories by implementing external data in our model.</a:t>
          </a:r>
        </a:p>
      </dsp:txBody>
      <dsp:txXfrm>
        <a:off x="8437026" y="2272585"/>
        <a:ext cx="2088425" cy="1665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57B6E2-C33E-EA47-AADF-CDD827E2BB8A}" type="datetimeFigureOut">
              <a:rPr lang="en-US" smtClean="0"/>
              <a:t>1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981874-F248-BF4B-A87B-B2BC5632E7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522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981874-F248-BF4B-A87B-B2BC5632E7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8426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0DD52-94C7-418B-9B8A-569225E0EE3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951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2, 4, 6 : Outcomes: Stronger Vendor Relationships, Increase size of wallet of long-term vendors, </a:t>
            </a:r>
          </a:p>
          <a:p>
            <a:endParaRPr lang="en-US"/>
          </a:p>
          <a:p>
            <a:r>
              <a:rPr lang="en-US"/>
              <a:t>1, 3,5:  Outcomes: Simpler Processes, Increase in Spend Visibility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981874-F248-BF4B-A87B-B2BC5632E73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959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jp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286C44-B6B5-92B5-740C-DE80D69AE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32E736-D21C-EF7A-8D4C-49FB83F999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CA4D78-AE12-3AA1-7F92-32B87A7FBE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77931-7345-944E-B48A-D0BFC5A7256C}" type="datetimeFigureOut">
              <a:rPr lang="en-US" smtClean="0"/>
              <a:t>1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9396B0-0D3C-8E2F-A0D3-878FFA531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BB13FB-AFDB-F8FE-A5D0-2607D1CFD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C59556-632F-7045-9960-76B74AE65F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775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362A2-8794-9A8A-16B5-754B67B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0CCDEA-4FA9-F486-5A86-1AA8266063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3EDEF0-B9D2-46CB-C2BC-6C63E382E9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D4963-E985-44C4-B8C4-FDD613B7C2F8}" type="datetime1">
              <a:rPr lang="en-US" smtClean="0"/>
              <a:t>1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F184EC-3089-D01E-07CE-6A5EF1F56D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6C38C8-BD48-CD8D-CE20-7DF9D7EB9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08070-55C4-42AC-9292-F96FF16748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7518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62AE47E-5EEB-519B-F54B-04F55F8F9A1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455EBD-808D-015A-90A7-767517C0C8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D51FFC-ECB8-F1E2-A8A9-463A6F507D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91B17-9318-49DB-B28B-6E5994AE9581}" type="datetime1">
              <a:rPr lang="en-US" smtClean="0"/>
              <a:t>1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6E1743-17FC-8B60-13CD-A446EFBF16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C941B2-5399-11DC-2C78-BB9BB99DD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DF3B2-54DC-4C17-9047-3417396184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picture containing text, tableware, dishware&#10;&#10;Description automatically generated">
            <a:extLst>
              <a:ext uri="{FF2B5EF4-FFF2-40B4-BE49-F238E27FC236}">
                <a16:creationId xmlns:a16="http://schemas.microsoft.com/office/drawing/2014/main" id="{1860F333-5A1D-DEEE-7BEC-76A95C0590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8045" y="6595059"/>
            <a:ext cx="431691" cy="242826"/>
          </a:xfrm>
          <a:prstGeom prst="rect">
            <a:avLst/>
          </a:prstGeom>
        </p:spPr>
      </p:pic>
      <p:pic>
        <p:nvPicPr>
          <p:cNvPr id="8" name="Picture 2" descr="Crafted Business Insurance. Affordable. | Chubb">
            <a:extLst>
              <a:ext uri="{FF2B5EF4-FFF2-40B4-BE49-F238E27FC236}">
                <a16:creationId xmlns:a16="http://schemas.microsoft.com/office/drawing/2014/main" id="{BA575A85-8943-55F4-D877-640CBE767C4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38"/>
          <a:stretch/>
        </p:blipFill>
        <p:spPr bwMode="auto">
          <a:xfrm>
            <a:off x="75592" y="6524535"/>
            <a:ext cx="676596" cy="70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FACD56A-B4C5-13F0-0C2F-B5183A5D9215}"/>
              </a:ext>
            </a:extLst>
          </p:cNvPr>
          <p:cNvSpPr/>
          <p:nvPr userDrawn="1"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AEB1AD0-D94D-4B9A-8B44-C7E32AAECAFD}"/>
              </a:ext>
            </a:extLst>
          </p:cNvPr>
          <p:cNvSpPr/>
          <p:nvPr userDrawn="1"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1208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0" y="3679900"/>
            <a:ext cx="12192000" cy="0"/>
          </a:xfrm>
          <a:prstGeom prst="line">
            <a:avLst/>
          </a:prstGeom>
          <a:ln w="28575">
            <a:solidFill>
              <a:srgbClr val="354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77705" y="3993376"/>
            <a:ext cx="11490822" cy="99532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of the presentation</a:t>
            </a:r>
            <a:endParaRPr lang="nl-NL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705" y="5179566"/>
            <a:ext cx="8906972" cy="4431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r>
              <a:rPr lang="en-US"/>
              <a:t>Departmen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3126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7"/>
            <a:ext cx="11523134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0712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AndTex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1524000"/>
            <a:ext cx="11531600" cy="1338828"/>
          </a:xfr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0560" y="237069"/>
            <a:ext cx="1163088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1005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Only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0560" y="237069"/>
            <a:ext cx="1163088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1066802"/>
            <a:ext cx="770000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 sz="1600" b="1"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82749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2" y="1627633"/>
            <a:ext cx="11528383" cy="27699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6"/>
            <a:ext cx="11528468" cy="276999"/>
          </a:xfrm>
          <a:ln>
            <a:noFill/>
          </a:ln>
        </p:spPr>
        <p:txBody>
          <a:bodyPr/>
          <a:lstStyle>
            <a:lvl1pPr marL="346075" indent="-346075">
              <a:buClr>
                <a:schemeClr val="accent1"/>
              </a:buClr>
              <a:buFont typeface="Arial" panose="020B0604020202020204" pitchFamily="34" charset="0"/>
              <a:buChar char="■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</p:spTree>
    <p:extLst>
      <p:ext uri="{BB962C8B-B14F-4D97-AF65-F5344CB8AC3E}">
        <p14:creationId xmlns:p14="http://schemas.microsoft.com/office/powerpoint/2010/main" val="39580689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Page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872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itle and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35558" y="279385"/>
            <a:ext cx="11500843" cy="36988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44726" indent="0">
              <a:buNone/>
              <a:defRPr sz="1477"/>
            </a:lvl2pPr>
            <a:lvl3pPr marL="496777" indent="0">
              <a:buNone/>
              <a:defRPr sz="1477"/>
            </a:lvl3pPr>
            <a:lvl4pPr marL="747365" indent="0">
              <a:buNone/>
              <a:defRPr sz="1477"/>
            </a:lvl4pPr>
            <a:lvl5pPr marL="993556" indent="0">
              <a:buNone/>
              <a:defRPr sz="1477"/>
            </a:lvl5pPr>
          </a:lstStyle>
          <a:p>
            <a:pPr lvl="0"/>
            <a:r>
              <a:rPr lang="en-US"/>
              <a:t>Click to edit Chapter nam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34436" y="1115847"/>
            <a:ext cx="9459258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1800" b="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008880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0560" y="237070"/>
            <a:ext cx="1163088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048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53D330-9790-9535-8D42-8B20F0420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0CFAB2-0753-05B6-FF81-A5D99817FE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2B905-5A0A-765A-1F8D-0DA6FB1C1C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77931-7345-944E-B48A-D0BFC5A7256C}" type="datetimeFigureOut">
              <a:rPr lang="en-US" smtClean="0"/>
              <a:t>1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76494-49CD-978A-3437-6B2BAC442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842EF7-66CC-B4A6-AF65-71389FFAC1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DEC41-1F1E-4689-A2BE-D7F60792D9B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492765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96919" y="3352914"/>
            <a:ext cx="2853055" cy="914400"/>
          </a:xfrm>
          <a:custGeom>
            <a:avLst/>
            <a:gdLst/>
            <a:ahLst/>
            <a:cxnLst/>
            <a:rect l="l" t="t" r="r" b="b"/>
            <a:pathLst>
              <a:path w="2853055" h="914400">
                <a:moveTo>
                  <a:pt x="0" y="0"/>
                </a:moveTo>
                <a:lnTo>
                  <a:pt x="2852707" y="0"/>
                </a:lnTo>
                <a:lnTo>
                  <a:pt x="2852707" y="914399"/>
                </a:lnTo>
                <a:lnTo>
                  <a:pt x="0" y="914399"/>
                </a:lnTo>
                <a:lnTo>
                  <a:pt x="0" y="0"/>
                </a:lnTo>
                <a:close/>
              </a:path>
            </a:pathLst>
          </a:custGeom>
          <a:solidFill>
            <a:srgbClr val="4472C4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2068" y="3719185"/>
            <a:ext cx="11947862" cy="678647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3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38613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2068" y="3719185"/>
            <a:ext cx="11947862" cy="678647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642816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056188" y="1145311"/>
            <a:ext cx="3541433" cy="397163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k object 17"/>
          <p:cNvSpPr/>
          <p:nvPr/>
        </p:nvSpPr>
        <p:spPr>
          <a:xfrm>
            <a:off x="5041900" y="1131023"/>
            <a:ext cx="3570604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8" name="bk object 18"/>
          <p:cNvSpPr/>
          <p:nvPr/>
        </p:nvSpPr>
        <p:spPr>
          <a:xfrm>
            <a:off x="1514767" y="1145311"/>
            <a:ext cx="3541420" cy="39716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9" name="bk object 19"/>
          <p:cNvSpPr/>
          <p:nvPr/>
        </p:nvSpPr>
        <p:spPr>
          <a:xfrm>
            <a:off x="1500479" y="1131023"/>
            <a:ext cx="3570604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0" name="bk object 20"/>
          <p:cNvSpPr/>
          <p:nvPr/>
        </p:nvSpPr>
        <p:spPr>
          <a:xfrm>
            <a:off x="1670850" y="1355944"/>
            <a:ext cx="8128000" cy="4572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1" name="bk object 21"/>
          <p:cNvSpPr/>
          <p:nvPr/>
        </p:nvSpPr>
        <p:spPr>
          <a:xfrm>
            <a:off x="1651800" y="1336891"/>
            <a:ext cx="8166100" cy="4610100"/>
          </a:xfrm>
          <a:custGeom>
            <a:avLst/>
            <a:gdLst/>
            <a:ahLst/>
            <a:cxnLst/>
            <a:rect l="l" t="t" r="r" b="b"/>
            <a:pathLst>
              <a:path w="8166100" h="4610100">
                <a:moveTo>
                  <a:pt x="0" y="0"/>
                </a:moveTo>
                <a:lnTo>
                  <a:pt x="8166104" y="0"/>
                </a:lnTo>
                <a:lnTo>
                  <a:pt x="8166104" y="4610102"/>
                </a:lnTo>
                <a:lnTo>
                  <a:pt x="0" y="4610102"/>
                </a:lnTo>
                <a:lnTo>
                  <a:pt x="0" y="0"/>
                </a:lnTo>
                <a:close/>
              </a:path>
            </a:pathLst>
          </a:custGeom>
          <a:ln w="38100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23881" y="169710"/>
            <a:ext cx="117442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3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876223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369816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0A444E-E56F-495C-75E6-47F2C55BE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28A1AE-0BAC-A3C1-05D4-33527BA267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BD96B5-0198-D6EA-35A2-0038F1B4E6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97495-0637-405E-AE64-5CC7506D51F5}" type="datetime1">
              <a:rPr lang="en-US" smtClean="0"/>
              <a:t>1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8D1508-777F-993C-67C3-E67F332AF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BF2349-2489-BBF6-B050-928750D87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63C8C6-C7F4-494D-B068-D374A1D2A8A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C5229D-BDCA-0470-3928-D43A7675F9E0}"/>
              </a:ext>
            </a:extLst>
          </p:cNvPr>
          <p:cNvSpPr/>
          <p:nvPr userDrawn="1"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26399FD-6B67-08AA-2581-538294E30876}"/>
              </a:ext>
            </a:extLst>
          </p:cNvPr>
          <p:cNvSpPr/>
          <p:nvPr userDrawn="1"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5055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F39933-7BC4-1AD2-F313-0C838F3E6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E2073E-19C9-EB6F-0491-802EAD5CF2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3D2240-E238-9D93-1A6E-FBEBBC1041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63B0A5-885F-B15A-326B-458F58CB8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FD690-9426-415D-8B65-26881E07B2D4}" type="datetime1">
              <a:rPr lang="en-US" smtClean="0"/>
              <a:t>1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A0D694-01B0-D39F-6413-0875CBB27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4864A1-81D6-9BB3-E06D-C0B238FC5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316DD-8F2B-4404-B12C-11CF71C4FA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4C9A17-15A0-DF03-E2C0-737996D8CEC5}"/>
              </a:ext>
            </a:extLst>
          </p:cNvPr>
          <p:cNvSpPr/>
          <p:nvPr userDrawn="1"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64B743D-CD8E-8FA4-BB4F-690D43ED289D}"/>
              </a:ext>
            </a:extLst>
          </p:cNvPr>
          <p:cNvSpPr/>
          <p:nvPr userDrawn="1"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0336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D96BB9-7E5B-8071-906C-BA075F9CF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3917A3-0804-F430-DB52-11A7EE1A13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1D8869-64E0-7020-AB39-114AE6399E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6D7381-B62D-D28D-A65E-01B54178E0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6C10D8-6245-16C8-8B5E-F57783CE80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CE078D5-A9E4-6690-1D90-72CF455C19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C4989A-474C-40DE-95B9-011C28B71673}" type="datetime1">
              <a:rPr lang="en-US" smtClean="0"/>
              <a:t>1/1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B8783A-A045-64A3-1570-ECA0C3CE9F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5ADDB39-EAF1-433A-CDB9-082179413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B01605-0926-42CE-83A9-C6389D7AFB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6BEE25-9EEA-AB0C-9E07-16886B976126}"/>
              </a:ext>
            </a:extLst>
          </p:cNvPr>
          <p:cNvSpPr/>
          <p:nvPr userDrawn="1"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A3AAE4-368B-823B-3FFC-40A6AAE641F5}"/>
              </a:ext>
            </a:extLst>
          </p:cNvPr>
          <p:cNvSpPr/>
          <p:nvPr userDrawn="1"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9814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C0F9B8-5389-9766-C1D5-3470492BC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34DBAF-D394-7854-F414-F6A25CA5F2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4ED54-5B5E-4A04-93D3-5772E3CE3818}" type="datetime1">
              <a:rPr lang="en-US" smtClean="0"/>
              <a:t>1/1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292D5B-0914-8F1C-F2ED-9A152D7A9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593939-B6BE-90CD-5FB5-7A289D830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C83C7-C876-4026-A5B6-1317EB3D24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B4F4CB0-AC39-C38B-FD71-EB386E2C13AE}"/>
              </a:ext>
            </a:extLst>
          </p:cNvPr>
          <p:cNvSpPr/>
          <p:nvPr userDrawn="1"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25B6135-3C97-54C2-730A-83F07D472B2D}"/>
              </a:ext>
            </a:extLst>
          </p:cNvPr>
          <p:cNvSpPr/>
          <p:nvPr userDrawn="1"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7345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635C9A9-1CE8-9E4A-7E72-20E5EA0141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E50D6-574B-40AF-946F-D52A04ADE379}" type="datetime1">
              <a:rPr lang="en-US" smtClean="0"/>
              <a:t>1/1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92F2D1-33EE-FB2D-5E71-671657500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5E1224-4095-7B76-E7DC-3014559D1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5A82A-F0CD-4EB1-8B98-AF4AB4919B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3AEEBE-D950-14D9-3760-F46BE8251712}"/>
              </a:ext>
            </a:extLst>
          </p:cNvPr>
          <p:cNvSpPr/>
          <p:nvPr userDrawn="1"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BCAB2A-579C-7585-B9FE-8C9AA86D78F1}"/>
              </a:ext>
            </a:extLst>
          </p:cNvPr>
          <p:cNvSpPr/>
          <p:nvPr userDrawn="1"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1227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2418BE-7779-7F83-2BE5-E93D70309A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D41522-2F4D-C2D7-5E9E-3A6DE99BAA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AEC850-B659-DFAF-199D-FB0F4C8D2B1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E3C317-FE53-102B-DEFA-D88D4EC73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884F1-FFEA-405F-9602-3DCA865EDA4E}" type="datetime1">
              <a:rPr lang="en-US" smtClean="0"/>
              <a:t>1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0F064-4668-DAF5-09F0-5026D5241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967312-7DDA-6A4E-766A-19587D43D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A063-FEBC-4625-8FBC-AA5D1C7DFCA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2724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902F4B-6761-C8AD-B2A0-5FCB3070A3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F1742E-361F-80D9-C8BE-7106910966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7E04A0-05F9-F058-3AAC-AE452816B1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EB8B98-2731-1547-3427-83FD1DFC61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8DB4A-8810-4A10-AD5C-D5E2C667F5B3}" type="datetime1">
              <a:rPr lang="en-US" smtClean="0"/>
              <a:t>1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413D50-FEC7-2ECD-7021-126DCE05B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4DBE6C-0A0B-95A1-D375-33D00244E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55C51A-0177-407A-8E98-F9C4E3D934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2590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7065FA-81FD-8981-3674-768B8B7CD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A02927-E2EE-C2E1-F34E-7EE52C59E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12AC26-E3CB-7AE2-61B0-5E76D80CF0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577931-7345-944E-B48A-D0BFC5A7256C}" type="datetimeFigureOut">
              <a:rPr lang="en-US" smtClean="0"/>
              <a:t>1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4C1870-96E2-ED33-B14B-11E1DA7901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776AF2-D8CE-7998-1F51-1748BB16A2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DDEC41-1F1E-4689-A2BE-D7F60792D9B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0D642F9-6779-64DF-6ED5-B871E2376C8E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6416841"/>
            <a:ext cx="1441696" cy="441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731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  <p:sldLayoutId id="2147484170" r:id="rId4"/>
    <p:sldLayoutId id="2147484171" r:id="rId5"/>
    <p:sldLayoutId id="2147484172" r:id="rId6"/>
    <p:sldLayoutId id="2147484173" r:id="rId7"/>
    <p:sldLayoutId id="2147484174" r:id="rId8"/>
    <p:sldLayoutId id="2147484175" r:id="rId9"/>
    <p:sldLayoutId id="2147484176" r:id="rId10"/>
    <p:sldLayoutId id="2147484177" r:id="rId11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16496378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26CB40-4C3F-421B-8183-C4443D742B6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000" b="1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10" y="1426674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4953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150970" y="204992"/>
            <a:ext cx="11858036" cy="0"/>
          </a:xfrm>
          <a:prstGeom prst="line">
            <a:avLst/>
          </a:prstGeom>
          <a:noFill/>
          <a:ln w="22225" cap="flat" cmpd="sng" algn="ctr">
            <a:solidFill>
              <a:srgbClr val="35477A"/>
            </a:solidFill>
            <a:prstDash val="solid"/>
          </a:ln>
          <a:effectLst>
            <a:outerShdw blurRad="50800" dist="12700" dir="5280000" rotWithShape="0">
              <a:srgbClr val="000000">
                <a:alpha val="40000"/>
              </a:srgbClr>
            </a:outerShdw>
          </a:effectLst>
        </p:spPr>
      </p:cxnSp>
      <p:sp>
        <p:nvSpPr>
          <p:cNvPr id="12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0560" y="237069"/>
            <a:ext cx="1163088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2640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9" r:id="rId9"/>
    <p:sldLayoutId id="2147483690" r:id="rId10"/>
    <p:sldLayoutId id="2147483691" r:id="rId11"/>
    <p:sldLayoutId id="2147483767" r:id="rId12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accent1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microsoft.com/office/2007/relationships/hdphoto" Target="../media/hdphoto5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microsoft.com/office/2007/relationships/hdphoto" Target="../media/hdphoto2.wdp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sv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13" Type="http://schemas.openxmlformats.org/officeDocument/2006/relationships/image" Target="../media/image81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75.png"/><Relationship Id="rId12" Type="http://schemas.openxmlformats.org/officeDocument/2006/relationships/image" Target="../media/image80.sv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11" Type="http://schemas.openxmlformats.org/officeDocument/2006/relationships/image" Target="../media/image79.png"/><Relationship Id="rId5" Type="http://schemas.openxmlformats.org/officeDocument/2006/relationships/diagramColors" Target="../diagrams/colors3.xml"/><Relationship Id="rId10" Type="http://schemas.openxmlformats.org/officeDocument/2006/relationships/image" Target="../media/image78.sv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77.png"/><Relationship Id="rId14" Type="http://schemas.openxmlformats.org/officeDocument/2006/relationships/image" Target="../media/image82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sv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3.svg"/><Relationship Id="rId7" Type="http://schemas.openxmlformats.org/officeDocument/2006/relationships/image" Target="../media/image35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png"/><Relationship Id="rId5" Type="http://schemas.openxmlformats.org/officeDocument/2006/relationships/image" Target="../media/image34.svg"/><Relationship Id="rId4" Type="http://schemas.openxmlformats.org/officeDocument/2006/relationships/image" Target="../media/image27.png"/><Relationship Id="rId9" Type="http://schemas.openxmlformats.org/officeDocument/2006/relationships/image" Target="../media/image37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svg"/><Relationship Id="rId7" Type="http://schemas.openxmlformats.org/officeDocument/2006/relationships/image" Target="../media/image45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43.sv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2EBA9F6-CC88-10FB-F76B-8CF2EABD9162}"/>
              </a:ext>
            </a:extLst>
          </p:cNvPr>
          <p:cNvSpPr/>
          <p:nvPr/>
        </p:nvSpPr>
        <p:spPr>
          <a:xfrm>
            <a:off x="0" y="0"/>
            <a:ext cx="8046720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AC889F7-9607-2D41-0501-B4E07EC2D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382" y="2972654"/>
            <a:ext cx="6692443" cy="566738"/>
          </a:xfrm>
        </p:spPr>
        <p:txBody>
          <a:bodyPr>
            <a:noAutofit/>
          </a:bodyPr>
          <a:lstStyle/>
          <a:p>
            <a:pPr algn="ctr"/>
            <a:r>
              <a:rPr lang="en-US" sz="6000">
                <a:solidFill>
                  <a:schemeClr val="bg1"/>
                </a:solidFill>
                <a:latin typeface="Tw Cen MT" panose="020B0602020104020603" pitchFamily="34" charset="77"/>
              </a:rPr>
              <a:t>AD CLASSIFIC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A7C6680-E0F4-B3C4-4AAB-F271945643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9381" y="3539392"/>
            <a:ext cx="11029617" cy="998148"/>
          </a:xfrm>
        </p:spPr>
        <p:txBody>
          <a:bodyPr>
            <a:normAutofit/>
          </a:bodyPr>
          <a:lstStyle/>
          <a:p>
            <a:pPr algn="ctr"/>
            <a:r>
              <a:rPr lang="en-US" sz="900" b="1">
                <a:solidFill>
                  <a:schemeClr val="bg1"/>
                </a:solidFill>
              </a:rPr>
              <a:t>December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CF7D321-C5C0-1023-A1C1-942E448E1498}"/>
              </a:ext>
            </a:extLst>
          </p:cNvPr>
          <p:cNvSpPr txBox="1"/>
          <p:nvPr/>
        </p:nvSpPr>
        <p:spPr>
          <a:xfrm>
            <a:off x="9110940" y="3886371"/>
            <a:ext cx="215798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>
                <a:solidFill>
                  <a:schemeClr val="tx2"/>
                </a:solidFill>
                <a:latin typeface="Tw Cen MT" panose="020B0602020104020603" pitchFamily="34" charset="77"/>
              </a:rPr>
              <a:t>PATTERN PROS:</a:t>
            </a:r>
          </a:p>
          <a:p>
            <a:pPr algn="r"/>
            <a:r>
              <a:rPr lang="en-US" err="1">
                <a:solidFill>
                  <a:schemeClr val="tx2"/>
                </a:solidFill>
                <a:latin typeface="Tw Cen MT" panose="020B0602020104020603" pitchFamily="34" charset="77"/>
              </a:rPr>
              <a:t>Baluni</a:t>
            </a:r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</a:rPr>
              <a:t>, </a:t>
            </a:r>
            <a:r>
              <a:rPr lang="en-US" err="1">
                <a:solidFill>
                  <a:schemeClr val="tx2"/>
                </a:solidFill>
                <a:latin typeface="Tw Cen MT" panose="020B0602020104020603" pitchFamily="34" charset="77"/>
              </a:rPr>
              <a:t>Sanyukta</a:t>
            </a:r>
            <a:endParaRPr lang="en-US">
              <a:solidFill>
                <a:schemeClr val="tx2"/>
              </a:solidFill>
              <a:latin typeface="Tw Cen MT" panose="020B0602020104020603" pitchFamily="34" charset="77"/>
            </a:endParaRPr>
          </a:p>
          <a:p>
            <a:pPr algn="r"/>
            <a:r>
              <a:rPr lang="en-US" err="1">
                <a:solidFill>
                  <a:schemeClr val="tx2"/>
                </a:solidFill>
                <a:latin typeface="Tw Cen MT" panose="020B0602020104020603" pitchFamily="34" charset="77"/>
              </a:rPr>
              <a:t>Chilla</a:t>
            </a:r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</a:rPr>
              <a:t>, </a:t>
            </a:r>
            <a:r>
              <a:rPr lang="en-US" err="1">
                <a:solidFill>
                  <a:schemeClr val="tx2"/>
                </a:solidFill>
                <a:latin typeface="Tw Cen MT" panose="020B0602020104020603" pitchFamily="34" charset="77"/>
              </a:rPr>
              <a:t>Madhulika</a:t>
            </a:r>
            <a:endParaRPr lang="en-US">
              <a:solidFill>
                <a:schemeClr val="tx2"/>
              </a:solidFill>
              <a:latin typeface="Tw Cen MT" panose="020B0602020104020603" pitchFamily="34" charset="77"/>
            </a:endParaRPr>
          </a:p>
          <a:p>
            <a:pPr algn="r"/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</a:rPr>
              <a:t>Gulati, </a:t>
            </a:r>
            <a:r>
              <a:rPr lang="en-US" err="1">
                <a:solidFill>
                  <a:schemeClr val="tx2"/>
                </a:solidFill>
                <a:latin typeface="Tw Cen MT" panose="020B0602020104020603" pitchFamily="34" charset="77"/>
              </a:rPr>
              <a:t>Tavish</a:t>
            </a:r>
            <a:endParaRPr lang="en-US">
              <a:solidFill>
                <a:schemeClr val="tx2"/>
              </a:solidFill>
              <a:latin typeface="Tw Cen MT" panose="020B0602020104020603" pitchFamily="34" charset="77"/>
            </a:endParaRPr>
          </a:p>
          <a:p>
            <a:pPr algn="r"/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</a:rPr>
              <a:t>Patil, Soham</a:t>
            </a:r>
          </a:p>
          <a:p>
            <a:pPr algn="r"/>
            <a:r>
              <a:rPr lang="en-US" err="1">
                <a:solidFill>
                  <a:schemeClr val="tx2"/>
                </a:solidFill>
                <a:latin typeface="Tw Cen MT" panose="020B0602020104020603" pitchFamily="34" charset="77"/>
              </a:rPr>
              <a:t>Sheth</a:t>
            </a:r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</a:rPr>
              <a:t>, </a:t>
            </a:r>
            <a:r>
              <a:rPr lang="en-US" err="1">
                <a:solidFill>
                  <a:schemeClr val="tx2"/>
                </a:solidFill>
                <a:latin typeface="Tw Cen MT" panose="020B0602020104020603" pitchFamily="34" charset="77"/>
              </a:rPr>
              <a:t>Parth</a:t>
            </a:r>
            <a:endParaRPr lang="en-US">
              <a:solidFill>
                <a:schemeClr val="tx2"/>
              </a:solidFill>
              <a:latin typeface="Tw Cen MT" panose="020B0602020104020603" pitchFamily="34" charset="77"/>
            </a:endParaRPr>
          </a:p>
          <a:p>
            <a:pPr algn="r"/>
            <a:endParaRPr lang="en-US" sz="2400">
              <a:solidFill>
                <a:schemeClr val="tx2"/>
              </a:solidFill>
              <a:latin typeface="Tw Cen MT" panose="020B0602020104020603" pitchFamily="34" charset="77"/>
            </a:endParaRP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9B7B0557-3D35-1A54-3B0D-3F4AB2460D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2235" y="2671552"/>
            <a:ext cx="3992477" cy="1221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7189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54FD56-69A7-5693-FE8F-40A7501D0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5231" y="8816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SCOPE</a:t>
            </a:r>
          </a:p>
        </p:txBody>
      </p:sp>
      <p:sp>
        <p:nvSpPr>
          <p:cNvPr id="4" name="Slide Number Placeholder 34">
            <a:extLst>
              <a:ext uri="{FF2B5EF4-FFF2-40B4-BE49-F238E27FC236}">
                <a16:creationId xmlns:a16="http://schemas.microsoft.com/office/drawing/2014/main" id="{86BC7D67-296C-6D0D-0E2E-0612BBF0D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10E3CF-56B4-4AFB-84BD-0CA9978A7E13}" type="slidenum">
              <a:rPr lang="en-US" smtClean="0"/>
              <a:t>10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1550DB06-1C4A-4844-ADD7-FF5AC8F50E05}"/>
              </a:ext>
            </a:extLst>
          </p:cNvPr>
          <p:cNvSpPr>
            <a:spLocks/>
          </p:cNvSpPr>
          <p:nvPr/>
        </p:nvSpPr>
        <p:spPr bwMode="auto">
          <a:xfrm>
            <a:off x="3998827" y="2688476"/>
            <a:ext cx="4194346" cy="3152277"/>
          </a:xfrm>
          <a:custGeom>
            <a:avLst/>
            <a:gdLst>
              <a:gd name="T0" fmla="*/ 522 w 1204"/>
              <a:gd name="T1" fmla="*/ 1077 h 1205"/>
              <a:gd name="T2" fmla="*/ 463 w 1204"/>
              <a:gd name="T3" fmla="*/ 602 h 1205"/>
              <a:gd name="T4" fmla="*/ 692 w 1204"/>
              <a:gd name="T5" fmla="*/ 106 h 1205"/>
              <a:gd name="T6" fmla="*/ 268 w 1204"/>
              <a:gd name="T7" fmla="*/ 0 h 1205"/>
              <a:gd name="T8" fmla="*/ 237 w 1204"/>
              <a:gd name="T9" fmla="*/ 28 h 1205"/>
              <a:gd name="T10" fmla="*/ 616 w 1204"/>
              <a:gd name="T11" fmla="*/ 123 h 1205"/>
              <a:gd name="T12" fmla="*/ 718 w 1204"/>
              <a:gd name="T13" fmla="*/ 427 h 1205"/>
              <a:gd name="T14" fmla="*/ 26 w 1204"/>
              <a:gd name="T15" fmla="*/ 845 h 1205"/>
              <a:gd name="T16" fmla="*/ 475 w 1204"/>
              <a:gd name="T17" fmla="*/ 1205 h 1205"/>
              <a:gd name="T18" fmla="*/ 662 w 1204"/>
              <a:gd name="T19" fmla="*/ 1119 h 1205"/>
              <a:gd name="T20" fmla="*/ 522 w 1204"/>
              <a:gd name="T21" fmla="*/ 1077 h 1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04" h="1205">
                <a:moveTo>
                  <a:pt x="522" y="1077"/>
                </a:moveTo>
                <a:cubicBezTo>
                  <a:pt x="0" y="897"/>
                  <a:pt x="260" y="682"/>
                  <a:pt x="463" y="602"/>
                </a:cubicBezTo>
                <a:cubicBezTo>
                  <a:pt x="666" y="522"/>
                  <a:pt x="1204" y="330"/>
                  <a:pt x="692" y="106"/>
                </a:cubicBezTo>
                <a:cubicBezTo>
                  <a:pt x="692" y="106"/>
                  <a:pt x="513" y="40"/>
                  <a:pt x="268" y="0"/>
                </a:cubicBezTo>
                <a:cubicBezTo>
                  <a:pt x="237" y="28"/>
                  <a:pt x="237" y="28"/>
                  <a:pt x="237" y="28"/>
                </a:cubicBezTo>
                <a:cubicBezTo>
                  <a:pt x="415" y="59"/>
                  <a:pt x="519" y="90"/>
                  <a:pt x="616" y="123"/>
                </a:cubicBezTo>
                <a:cubicBezTo>
                  <a:pt x="774" y="177"/>
                  <a:pt x="930" y="311"/>
                  <a:pt x="718" y="427"/>
                </a:cubicBezTo>
                <a:cubicBezTo>
                  <a:pt x="506" y="543"/>
                  <a:pt x="44" y="661"/>
                  <a:pt x="26" y="845"/>
                </a:cubicBezTo>
                <a:cubicBezTo>
                  <a:pt x="13" y="972"/>
                  <a:pt x="185" y="1108"/>
                  <a:pt x="475" y="1205"/>
                </a:cubicBezTo>
                <a:cubicBezTo>
                  <a:pt x="662" y="1119"/>
                  <a:pt x="662" y="1119"/>
                  <a:pt x="662" y="1119"/>
                </a:cubicBezTo>
                <a:cubicBezTo>
                  <a:pt x="613" y="1106"/>
                  <a:pt x="566" y="1092"/>
                  <a:pt x="522" y="1077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93A2F8A3-01FC-384B-8460-1D7AA51F19F7}"/>
              </a:ext>
            </a:extLst>
          </p:cNvPr>
          <p:cNvSpPr>
            <a:spLocks/>
          </p:cNvSpPr>
          <p:nvPr/>
        </p:nvSpPr>
        <p:spPr bwMode="auto">
          <a:xfrm>
            <a:off x="1188180" y="2448006"/>
            <a:ext cx="1472413" cy="86799"/>
          </a:xfrm>
          <a:custGeom>
            <a:avLst/>
            <a:gdLst>
              <a:gd name="T0" fmla="*/ 0 w 515"/>
              <a:gd name="T1" fmla="*/ 2 h 30"/>
              <a:gd name="T2" fmla="*/ 0 w 515"/>
              <a:gd name="T3" fmla="*/ 23 h 30"/>
              <a:gd name="T4" fmla="*/ 504 w 515"/>
              <a:gd name="T5" fmla="*/ 30 h 30"/>
              <a:gd name="T6" fmla="*/ 515 w 515"/>
              <a:gd name="T7" fmla="*/ 18 h 30"/>
              <a:gd name="T8" fmla="*/ 0 w 515"/>
              <a:gd name="T9" fmla="*/ 2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5" h="30">
                <a:moveTo>
                  <a:pt x="0" y="2"/>
                </a:moveTo>
                <a:cubicBezTo>
                  <a:pt x="0" y="23"/>
                  <a:pt x="0" y="23"/>
                  <a:pt x="0" y="23"/>
                </a:cubicBezTo>
                <a:cubicBezTo>
                  <a:pt x="0" y="23"/>
                  <a:pt x="200" y="14"/>
                  <a:pt x="504" y="30"/>
                </a:cubicBezTo>
                <a:cubicBezTo>
                  <a:pt x="515" y="18"/>
                  <a:pt x="515" y="18"/>
                  <a:pt x="515" y="18"/>
                </a:cubicBezTo>
                <a:cubicBezTo>
                  <a:pt x="323" y="7"/>
                  <a:pt x="138" y="0"/>
                  <a:pt x="0" y="2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8F94900D-45F0-534D-9D1E-D0C0FE59FA9A}"/>
              </a:ext>
            </a:extLst>
          </p:cNvPr>
          <p:cNvSpPr>
            <a:spLocks/>
          </p:cNvSpPr>
          <p:nvPr/>
        </p:nvSpPr>
        <p:spPr bwMode="auto">
          <a:xfrm>
            <a:off x="2736072" y="2495809"/>
            <a:ext cx="2072110" cy="246191"/>
          </a:xfrm>
          <a:custGeom>
            <a:avLst/>
            <a:gdLst>
              <a:gd name="T0" fmla="*/ 595 w 725"/>
              <a:gd name="T1" fmla="*/ 43 h 86"/>
              <a:gd name="T2" fmla="*/ 13 w 725"/>
              <a:gd name="T3" fmla="*/ 0 h 86"/>
              <a:gd name="T4" fmla="*/ 0 w 725"/>
              <a:gd name="T5" fmla="*/ 12 h 86"/>
              <a:gd name="T6" fmla="*/ 298 w 725"/>
              <a:gd name="T7" fmla="*/ 36 h 86"/>
              <a:gd name="T8" fmla="*/ 695 w 725"/>
              <a:gd name="T9" fmla="*/ 86 h 86"/>
              <a:gd name="T10" fmla="*/ 725 w 725"/>
              <a:gd name="T11" fmla="*/ 58 h 86"/>
              <a:gd name="T12" fmla="*/ 595 w 725"/>
              <a:gd name="T13" fmla="*/ 43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25" h="86">
                <a:moveTo>
                  <a:pt x="595" y="43"/>
                </a:moveTo>
                <a:cubicBezTo>
                  <a:pt x="430" y="28"/>
                  <a:pt x="220" y="12"/>
                  <a:pt x="13" y="0"/>
                </a:cubicBezTo>
                <a:cubicBezTo>
                  <a:pt x="0" y="12"/>
                  <a:pt x="0" y="12"/>
                  <a:pt x="0" y="12"/>
                </a:cubicBezTo>
                <a:cubicBezTo>
                  <a:pt x="92" y="18"/>
                  <a:pt x="192" y="25"/>
                  <a:pt x="298" y="36"/>
                </a:cubicBezTo>
                <a:cubicBezTo>
                  <a:pt x="461" y="53"/>
                  <a:pt x="590" y="69"/>
                  <a:pt x="695" y="86"/>
                </a:cubicBezTo>
                <a:cubicBezTo>
                  <a:pt x="725" y="58"/>
                  <a:pt x="725" y="58"/>
                  <a:pt x="725" y="58"/>
                </a:cubicBezTo>
                <a:cubicBezTo>
                  <a:pt x="683" y="52"/>
                  <a:pt x="639" y="47"/>
                  <a:pt x="595" y="43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9C82ED3A-5B86-B74E-AE4B-3D8C3996BF4A}"/>
              </a:ext>
            </a:extLst>
          </p:cNvPr>
          <p:cNvSpPr>
            <a:spLocks/>
          </p:cNvSpPr>
          <p:nvPr/>
        </p:nvSpPr>
        <p:spPr bwMode="auto">
          <a:xfrm>
            <a:off x="5767356" y="5649449"/>
            <a:ext cx="5072170" cy="850622"/>
          </a:xfrm>
          <a:custGeom>
            <a:avLst/>
            <a:gdLst>
              <a:gd name="T0" fmla="*/ 1775 w 1775"/>
              <a:gd name="T1" fmla="*/ 213 h 297"/>
              <a:gd name="T2" fmla="*/ 1443 w 1775"/>
              <a:gd name="T3" fmla="*/ 57 h 297"/>
              <a:gd name="T4" fmla="*/ 1397 w 1775"/>
              <a:gd name="T5" fmla="*/ 95 h 297"/>
              <a:gd name="T6" fmla="*/ 205 w 1775"/>
              <a:gd name="T7" fmla="*/ 0 h 297"/>
              <a:gd name="T8" fmla="*/ 0 w 1775"/>
              <a:gd name="T9" fmla="*/ 93 h 297"/>
              <a:gd name="T10" fmla="*/ 309 w 1775"/>
              <a:gd name="T11" fmla="*/ 153 h 297"/>
              <a:gd name="T12" fmla="*/ 1225 w 1775"/>
              <a:gd name="T13" fmla="*/ 235 h 297"/>
              <a:gd name="T14" fmla="*/ 1153 w 1775"/>
              <a:gd name="T15" fmla="*/ 297 h 297"/>
              <a:gd name="T16" fmla="*/ 1775 w 1775"/>
              <a:gd name="T17" fmla="*/ 213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75" h="297">
                <a:moveTo>
                  <a:pt x="1775" y="213"/>
                </a:moveTo>
                <a:cubicBezTo>
                  <a:pt x="1443" y="57"/>
                  <a:pt x="1443" y="57"/>
                  <a:pt x="1443" y="57"/>
                </a:cubicBezTo>
                <a:cubicBezTo>
                  <a:pt x="1397" y="95"/>
                  <a:pt x="1397" y="95"/>
                  <a:pt x="1397" y="95"/>
                </a:cubicBezTo>
                <a:cubicBezTo>
                  <a:pt x="1397" y="95"/>
                  <a:pt x="730" y="100"/>
                  <a:pt x="205" y="0"/>
                </a:cubicBezTo>
                <a:cubicBezTo>
                  <a:pt x="0" y="93"/>
                  <a:pt x="0" y="93"/>
                  <a:pt x="0" y="93"/>
                </a:cubicBezTo>
                <a:cubicBezTo>
                  <a:pt x="95" y="117"/>
                  <a:pt x="198" y="138"/>
                  <a:pt x="309" y="153"/>
                </a:cubicBezTo>
                <a:cubicBezTo>
                  <a:pt x="859" y="229"/>
                  <a:pt x="1225" y="235"/>
                  <a:pt x="1225" y="235"/>
                </a:cubicBezTo>
                <a:cubicBezTo>
                  <a:pt x="1153" y="297"/>
                  <a:pt x="1153" y="297"/>
                  <a:pt x="1153" y="297"/>
                </a:cubicBezTo>
                <a:lnTo>
                  <a:pt x="1775" y="213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98B419F-5E5D-DA43-BF49-FF39B6BD39C4}"/>
              </a:ext>
            </a:extLst>
          </p:cNvPr>
          <p:cNvGrpSpPr/>
          <p:nvPr/>
        </p:nvGrpSpPr>
        <p:grpSpPr>
          <a:xfrm>
            <a:off x="7477783" y="4391141"/>
            <a:ext cx="982714" cy="1672685"/>
            <a:chOff x="5997254" y="2460747"/>
            <a:chExt cx="1616607" cy="2669889"/>
          </a:xfrm>
          <a:solidFill>
            <a:schemeClr val="tx2"/>
          </a:solidFill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60211EE-30DC-0F4D-91AA-EEE29C22E379}"/>
                </a:ext>
              </a:extLst>
            </p:cNvPr>
            <p:cNvSpPr/>
            <p:nvPr/>
          </p:nvSpPr>
          <p:spPr>
            <a:xfrm>
              <a:off x="6718887" y="4188899"/>
              <a:ext cx="191914" cy="941737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>
                <a:defRPr/>
              </a:pPr>
              <a:endParaRPr lang="en-US" sz="1800" ker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9D9027ED-2421-C04D-927B-CB032CE62B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7254" y="2460747"/>
              <a:ext cx="1616607" cy="1618702"/>
            </a:xfrm>
            <a:custGeom>
              <a:avLst/>
              <a:gdLst>
                <a:gd name="T0" fmla="*/ 323 w 326"/>
                <a:gd name="T1" fmla="*/ 157 h 326"/>
                <a:gd name="T2" fmla="*/ 169 w 326"/>
                <a:gd name="T3" fmla="*/ 2 h 326"/>
                <a:gd name="T4" fmla="*/ 163 w 326"/>
                <a:gd name="T5" fmla="*/ 0 h 326"/>
                <a:gd name="T6" fmla="*/ 157 w 326"/>
                <a:gd name="T7" fmla="*/ 2 h 326"/>
                <a:gd name="T8" fmla="*/ 3 w 326"/>
                <a:gd name="T9" fmla="*/ 157 h 326"/>
                <a:gd name="T10" fmla="*/ 0 w 326"/>
                <a:gd name="T11" fmla="*/ 163 h 326"/>
                <a:gd name="T12" fmla="*/ 3 w 326"/>
                <a:gd name="T13" fmla="*/ 169 h 326"/>
                <a:gd name="T14" fmla="*/ 157 w 326"/>
                <a:gd name="T15" fmla="*/ 323 h 326"/>
                <a:gd name="T16" fmla="*/ 163 w 326"/>
                <a:gd name="T17" fmla="*/ 326 h 326"/>
                <a:gd name="T18" fmla="*/ 169 w 326"/>
                <a:gd name="T19" fmla="*/ 323 h 326"/>
                <a:gd name="T20" fmla="*/ 323 w 326"/>
                <a:gd name="T21" fmla="*/ 169 h 326"/>
                <a:gd name="T22" fmla="*/ 326 w 326"/>
                <a:gd name="T23" fmla="*/ 163 h 326"/>
                <a:gd name="T24" fmla="*/ 323 w 326"/>
                <a:gd name="T25" fmla="*/ 157 h 326"/>
                <a:gd name="T26" fmla="*/ 306 w 326"/>
                <a:gd name="T27" fmla="*/ 168 h 326"/>
                <a:gd name="T28" fmla="*/ 168 w 326"/>
                <a:gd name="T29" fmla="*/ 306 h 326"/>
                <a:gd name="T30" fmla="*/ 163 w 326"/>
                <a:gd name="T31" fmla="*/ 308 h 326"/>
                <a:gd name="T32" fmla="*/ 157 w 326"/>
                <a:gd name="T33" fmla="*/ 306 h 326"/>
                <a:gd name="T34" fmla="*/ 20 w 326"/>
                <a:gd name="T35" fmla="*/ 168 h 326"/>
                <a:gd name="T36" fmla="*/ 17 w 326"/>
                <a:gd name="T37" fmla="*/ 163 h 326"/>
                <a:gd name="T38" fmla="*/ 20 w 326"/>
                <a:gd name="T39" fmla="*/ 157 h 326"/>
                <a:gd name="T40" fmla="*/ 157 w 326"/>
                <a:gd name="T41" fmla="*/ 19 h 326"/>
                <a:gd name="T42" fmla="*/ 163 w 326"/>
                <a:gd name="T43" fmla="*/ 17 h 326"/>
                <a:gd name="T44" fmla="*/ 168 w 326"/>
                <a:gd name="T45" fmla="*/ 19 h 326"/>
                <a:gd name="T46" fmla="*/ 306 w 326"/>
                <a:gd name="T47" fmla="*/ 157 h 326"/>
                <a:gd name="T48" fmla="*/ 309 w 326"/>
                <a:gd name="T49" fmla="*/ 163 h 326"/>
                <a:gd name="T50" fmla="*/ 306 w 326"/>
                <a:gd name="T51" fmla="*/ 16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6" h="326">
                  <a:moveTo>
                    <a:pt x="323" y="157"/>
                  </a:moveTo>
                  <a:cubicBezTo>
                    <a:pt x="169" y="2"/>
                    <a:pt x="169" y="2"/>
                    <a:pt x="169" y="2"/>
                  </a:cubicBezTo>
                  <a:cubicBezTo>
                    <a:pt x="167" y="0"/>
                    <a:pt x="164" y="0"/>
                    <a:pt x="163" y="0"/>
                  </a:cubicBezTo>
                  <a:cubicBezTo>
                    <a:pt x="162" y="0"/>
                    <a:pt x="159" y="0"/>
                    <a:pt x="157" y="2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1" y="158"/>
                    <a:pt x="0" y="160"/>
                    <a:pt x="0" y="163"/>
                  </a:cubicBezTo>
                  <a:cubicBezTo>
                    <a:pt x="0" y="165"/>
                    <a:pt x="1" y="167"/>
                    <a:pt x="3" y="169"/>
                  </a:cubicBezTo>
                  <a:cubicBezTo>
                    <a:pt x="157" y="323"/>
                    <a:pt x="157" y="323"/>
                    <a:pt x="157" y="323"/>
                  </a:cubicBezTo>
                  <a:cubicBezTo>
                    <a:pt x="159" y="325"/>
                    <a:pt x="162" y="326"/>
                    <a:pt x="163" y="326"/>
                  </a:cubicBezTo>
                  <a:cubicBezTo>
                    <a:pt x="164" y="326"/>
                    <a:pt x="167" y="325"/>
                    <a:pt x="169" y="323"/>
                  </a:cubicBezTo>
                  <a:cubicBezTo>
                    <a:pt x="323" y="169"/>
                    <a:pt x="323" y="169"/>
                    <a:pt x="323" y="169"/>
                  </a:cubicBezTo>
                  <a:cubicBezTo>
                    <a:pt x="325" y="167"/>
                    <a:pt x="326" y="164"/>
                    <a:pt x="326" y="163"/>
                  </a:cubicBezTo>
                  <a:cubicBezTo>
                    <a:pt x="326" y="161"/>
                    <a:pt x="325" y="159"/>
                    <a:pt x="323" y="157"/>
                  </a:cubicBezTo>
                  <a:close/>
                  <a:moveTo>
                    <a:pt x="306" y="168"/>
                  </a:moveTo>
                  <a:cubicBezTo>
                    <a:pt x="168" y="306"/>
                    <a:pt x="168" y="306"/>
                    <a:pt x="168" y="306"/>
                  </a:cubicBezTo>
                  <a:cubicBezTo>
                    <a:pt x="167" y="308"/>
                    <a:pt x="164" y="308"/>
                    <a:pt x="163" y="308"/>
                  </a:cubicBezTo>
                  <a:cubicBezTo>
                    <a:pt x="162" y="308"/>
                    <a:pt x="159" y="308"/>
                    <a:pt x="157" y="306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18" y="167"/>
                    <a:pt x="17" y="165"/>
                    <a:pt x="17" y="163"/>
                  </a:cubicBezTo>
                  <a:cubicBezTo>
                    <a:pt x="17" y="161"/>
                    <a:pt x="18" y="159"/>
                    <a:pt x="20" y="157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9" y="17"/>
                    <a:pt x="162" y="17"/>
                    <a:pt x="163" y="17"/>
                  </a:cubicBezTo>
                  <a:cubicBezTo>
                    <a:pt x="164" y="17"/>
                    <a:pt x="167" y="17"/>
                    <a:pt x="168" y="19"/>
                  </a:cubicBezTo>
                  <a:cubicBezTo>
                    <a:pt x="306" y="157"/>
                    <a:pt x="306" y="157"/>
                    <a:pt x="306" y="157"/>
                  </a:cubicBezTo>
                  <a:cubicBezTo>
                    <a:pt x="308" y="159"/>
                    <a:pt x="309" y="161"/>
                    <a:pt x="309" y="163"/>
                  </a:cubicBezTo>
                  <a:cubicBezTo>
                    <a:pt x="309" y="164"/>
                    <a:pt x="308" y="166"/>
                    <a:pt x="306" y="16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endParaRPr lang="en-US" sz="1800" ker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6F5441E-CA1B-E747-BF6F-48FA30B08546}"/>
              </a:ext>
            </a:extLst>
          </p:cNvPr>
          <p:cNvGrpSpPr/>
          <p:nvPr/>
        </p:nvGrpSpPr>
        <p:grpSpPr>
          <a:xfrm>
            <a:off x="3883876" y="3552766"/>
            <a:ext cx="897231" cy="1468846"/>
            <a:chOff x="5997254" y="2460747"/>
            <a:chExt cx="1616607" cy="2669889"/>
          </a:xfrm>
          <a:solidFill>
            <a:schemeClr val="tx2"/>
          </a:solidFill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C97D45F-B86D-934A-84AC-565B8CBCC4F4}"/>
                </a:ext>
              </a:extLst>
            </p:cNvPr>
            <p:cNvSpPr/>
            <p:nvPr/>
          </p:nvSpPr>
          <p:spPr>
            <a:xfrm>
              <a:off x="6718887" y="4188899"/>
              <a:ext cx="191914" cy="941737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>
                <a:defRPr/>
              </a:pPr>
              <a:endParaRPr lang="en-US" sz="1800" ker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B5FD2F55-DC5B-5642-9470-DE5B6BCE7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7254" y="2460747"/>
              <a:ext cx="1616607" cy="1618702"/>
            </a:xfrm>
            <a:custGeom>
              <a:avLst/>
              <a:gdLst>
                <a:gd name="T0" fmla="*/ 323 w 326"/>
                <a:gd name="T1" fmla="*/ 157 h 326"/>
                <a:gd name="T2" fmla="*/ 169 w 326"/>
                <a:gd name="T3" fmla="*/ 2 h 326"/>
                <a:gd name="T4" fmla="*/ 163 w 326"/>
                <a:gd name="T5" fmla="*/ 0 h 326"/>
                <a:gd name="T6" fmla="*/ 157 w 326"/>
                <a:gd name="T7" fmla="*/ 2 h 326"/>
                <a:gd name="T8" fmla="*/ 3 w 326"/>
                <a:gd name="T9" fmla="*/ 157 h 326"/>
                <a:gd name="T10" fmla="*/ 0 w 326"/>
                <a:gd name="T11" fmla="*/ 163 h 326"/>
                <a:gd name="T12" fmla="*/ 3 w 326"/>
                <a:gd name="T13" fmla="*/ 169 h 326"/>
                <a:gd name="T14" fmla="*/ 157 w 326"/>
                <a:gd name="T15" fmla="*/ 323 h 326"/>
                <a:gd name="T16" fmla="*/ 163 w 326"/>
                <a:gd name="T17" fmla="*/ 326 h 326"/>
                <a:gd name="T18" fmla="*/ 169 w 326"/>
                <a:gd name="T19" fmla="*/ 323 h 326"/>
                <a:gd name="T20" fmla="*/ 323 w 326"/>
                <a:gd name="T21" fmla="*/ 169 h 326"/>
                <a:gd name="T22" fmla="*/ 326 w 326"/>
                <a:gd name="T23" fmla="*/ 163 h 326"/>
                <a:gd name="T24" fmla="*/ 323 w 326"/>
                <a:gd name="T25" fmla="*/ 157 h 326"/>
                <a:gd name="T26" fmla="*/ 306 w 326"/>
                <a:gd name="T27" fmla="*/ 168 h 326"/>
                <a:gd name="T28" fmla="*/ 168 w 326"/>
                <a:gd name="T29" fmla="*/ 306 h 326"/>
                <a:gd name="T30" fmla="*/ 163 w 326"/>
                <a:gd name="T31" fmla="*/ 308 h 326"/>
                <a:gd name="T32" fmla="*/ 157 w 326"/>
                <a:gd name="T33" fmla="*/ 306 h 326"/>
                <a:gd name="T34" fmla="*/ 20 w 326"/>
                <a:gd name="T35" fmla="*/ 168 h 326"/>
                <a:gd name="T36" fmla="*/ 17 w 326"/>
                <a:gd name="T37" fmla="*/ 163 h 326"/>
                <a:gd name="T38" fmla="*/ 20 w 326"/>
                <a:gd name="T39" fmla="*/ 157 h 326"/>
                <a:gd name="T40" fmla="*/ 157 w 326"/>
                <a:gd name="T41" fmla="*/ 19 h 326"/>
                <a:gd name="T42" fmla="*/ 163 w 326"/>
                <a:gd name="T43" fmla="*/ 17 h 326"/>
                <a:gd name="T44" fmla="*/ 168 w 326"/>
                <a:gd name="T45" fmla="*/ 19 h 326"/>
                <a:gd name="T46" fmla="*/ 306 w 326"/>
                <a:gd name="T47" fmla="*/ 157 h 326"/>
                <a:gd name="T48" fmla="*/ 309 w 326"/>
                <a:gd name="T49" fmla="*/ 163 h 326"/>
                <a:gd name="T50" fmla="*/ 306 w 326"/>
                <a:gd name="T51" fmla="*/ 16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6" h="326">
                  <a:moveTo>
                    <a:pt x="323" y="157"/>
                  </a:moveTo>
                  <a:cubicBezTo>
                    <a:pt x="169" y="2"/>
                    <a:pt x="169" y="2"/>
                    <a:pt x="169" y="2"/>
                  </a:cubicBezTo>
                  <a:cubicBezTo>
                    <a:pt x="167" y="0"/>
                    <a:pt x="164" y="0"/>
                    <a:pt x="163" y="0"/>
                  </a:cubicBezTo>
                  <a:cubicBezTo>
                    <a:pt x="162" y="0"/>
                    <a:pt x="159" y="0"/>
                    <a:pt x="157" y="2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1" y="158"/>
                    <a:pt x="0" y="160"/>
                    <a:pt x="0" y="163"/>
                  </a:cubicBezTo>
                  <a:cubicBezTo>
                    <a:pt x="0" y="165"/>
                    <a:pt x="1" y="167"/>
                    <a:pt x="3" y="169"/>
                  </a:cubicBezTo>
                  <a:cubicBezTo>
                    <a:pt x="157" y="323"/>
                    <a:pt x="157" y="323"/>
                    <a:pt x="157" y="323"/>
                  </a:cubicBezTo>
                  <a:cubicBezTo>
                    <a:pt x="159" y="325"/>
                    <a:pt x="162" y="326"/>
                    <a:pt x="163" y="326"/>
                  </a:cubicBezTo>
                  <a:cubicBezTo>
                    <a:pt x="164" y="326"/>
                    <a:pt x="167" y="325"/>
                    <a:pt x="169" y="323"/>
                  </a:cubicBezTo>
                  <a:cubicBezTo>
                    <a:pt x="323" y="169"/>
                    <a:pt x="323" y="169"/>
                    <a:pt x="323" y="169"/>
                  </a:cubicBezTo>
                  <a:cubicBezTo>
                    <a:pt x="325" y="167"/>
                    <a:pt x="326" y="164"/>
                    <a:pt x="326" y="163"/>
                  </a:cubicBezTo>
                  <a:cubicBezTo>
                    <a:pt x="326" y="161"/>
                    <a:pt x="325" y="159"/>
                    <a:pt x="323" y="157"/>
                  </a:cubicBezTo>
                  <a:close/>
                  <a:moveTo>
                    <a:pt x="306" y="168"/>
                  </a:moveTo>
                  <a:cubicBezTo>
                    <a:pt x="168" y="306"/>
                    <a:pt x="168" y="306"/>
                    <a:pt x="168" y="306"/>
                  </a:cubicBezTo>
                  <a:cubicBezTo>
                    <a:pt x="167" y="308"/>
                    <a:pt x="164" y="308"/>
                    <a:pt x="163" y="308"/>
                  </a:cubicBezTo>
                  <a:cubicBezTo>
                    <a:pt x="162" y="308"/>
                    <a:pt x="159" y="308"/>
                    <a:pt x="157" y="306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18" y="167"/>
                    <a:pt x="17" y="165"/>
                    <a:pt x="17" y="163"/>
                  </a:cubicBezTo>
                  <a:cubicBezTo>
                    <a:pt x="17" y="161"/>
                    <a:pt x="18" y="159"/>
                    <a:pt x="20" y="157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9" y="17"/>
                    <a:pt x="162" y="17"/>
                    <a:pt x="163" y="17"/>
                  </a:cubicBezTo>
                  <a:cubicBezTo>
                    <a:pt x="164" y="17"/>
                    <a:pt x="167" y="17"/>
                    <a:pt x="168" y="19"/>
                  </a:cubicBezTo>
                  <a:cubicBezTo>
                    <a:pt x="306" y="157"/>
                    <a:pt x="306" y="157"/>
                    <a:pt x="306" y="157"/>
                  </a:cubicBezTo>
                  <a:cubicBezTo>
                    <a:pt x="308" y="159"/>
                    <a:pt x="309" y="161"/>
                    <a:pt x="309" y="163"/>
                  </a:cubicBezTo>
                  <a:cubicBezTo>
                    <a:pt x="309" y="164"/>
                    <a:pt x="308" y="166"/>
                    <a:pt x="306" y="16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endParaRPr lang="en-US" sz="1800" ker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D6DBC83-B142-9843-9B04-F749A459623E}"/>
              </a:ext>
            </a:extLst>
          </p:cNvPr>
          <p:cNvGrpSpPr/>
          <p:nvPr/>
        </p:nvGrpSpPr>
        <p:grpSpPr>
          <a:xfrm>
            <a:off x="4150257" y="1448244"/>
            <a:ext cx="737840" cy="1213086"/>
            <a:chOff x="5997253" y="2460747"/>
            <a:chExt cx="1616607" cy="2669889"/>
          </a:xfrm>
          <a:solidFill>
            <a:schemeClr val="tx2"/>
          </a:solidFill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2CAD4B3-977B-8A4A-B542-77530BBFE579}"/>
                </a:ext>
              </a:extLst>
            </p:cNvPr>
            <p:cNvSpPr/>
            <p:nvPr/>
          </p:nvSpPr>
          <p:spPr>
            <a:xfrm>
              <a:off x="6718887" y="4188899"/>
              <a:ext cx="191914" cy="941737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>
                <a:defRPr/>
              </a:pPr>
              <a:endParaRPr lang="en-US" sz="1800" ker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58942852-BA2F-BD4B-B1B7-1B84630C5C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7253" y="2460747"/>
              <a:ext cx="1616607" cy="1618702"/>
            </a:xfrm>
            <a:custGeom>
              <a:avLst/>
              <a:gdLst>
                <a:gd name="T0" fmla="*/ 323 w 326"/>
                <a:gd name="T1" fmla="*/ 157 h 326"/>
                <a:gd name="T2" fmla="*/ 169 w 326"/>
                <a:gd name="T3" fmla="*/ 2 h 326"/>
                <a:gd name="T4" fmla="*/ 163 w 326"/>
                <a:gd name="T5" fmla="*/ 0 h 326"/>
                <a:gd name="T6" fmla="*/ 157 w 326"/>
                <a:gd name="T7" fmla="*/ 2 h 326"/>
                <a:gd name="T8" fmla="*/ 3 w 326"/>
                <a:gd name="T9" fmla="*/ 157 h 326"/>
                <a:gd name="T10" fmla="*/ 0 w 326"/>
                <a:gd name="T11" fmla="*/ 163 h 326"/>
                <a:gd name="T12" fmla="*/ 3 w 326"/>
                <a:gd name="T13" fmla="*/ 169 h 326"/>
                <a:gd name="T14" fmla="*/ 157 w 326"/>
                <a:gd name="T15" fmla="*/ 323 h 326"/>
                <a:gd name="T16" fmla="*/ 163 w 326"/>
                <a:gd name="T17" fmla="*/ 326 h 326"/>
                <a:gd name="T18" fmla="*/ 169 w 326"/>
                <a:gd name="T19" fmla="*/ 323 h 326"/>
                <a:gd name="T20" fmla="*/ 323 w 326"/>
                <a:gd name="T21" fmla="*/ 169 h 326"/>
                <a:gd name="T22" fmla="*/ 326 w 326"/>
                <a:gd name="T23" fmla="*/ 163 h 326"/>
                <a:gd name="T24" fmla="*/ 323 w 326"/>
                <a:gd name="T25" fmla="*/ 157 h 326"/>
                <a:gd name="T26" fmla="*/ 306 w 326"/>
                <a:gd name="T27" fmla="*/ 168 h 326"/>
                <a:gd name="T28" fmla="*/ 168 w 326"/>
                <a:gd name="T29" fmla="*/ 306 h 326"/>
                <a:gd name="T30" fmla="*/ 163 w 326"/>
                <a:gd name="T31" fmla="*/ 308 h 326"/>
                <a:gd name="T32" fmla="*/ 157 w 326"/>
                <a:gd name="T33" fmla="*/ 306 h 326"/>
                <a:gd name="T34" fmla="*/ 20 w 326"/>
                <a:gd name="T35" fmla="*/ 168 h 326"/>
                <a:gd name="T36" fmla="*/ 17 w 326"/>
                <a:gd name="T37" fmla="*/ 163 h 326"/>
                <a:gd name="T38" fmla="*/ 20 w 326"/>
                <a:gd name="T39" fmla="*/ 157 h 326"/>
                <a:gd name="T40" fmla="*/ 157 w 326"/>
                <a:gd name="T41" fmla="*/ 19 h 326"/>
                <a:gd name="T42" fmla="*/ 163 w 326"/>
                <a:gd name="T43" fmla="*/ 17 h 326"/>
                <a:gd name="T44" fmla="*/ 168 w 326"/>
                <a:gd name="T45" fmla="*/ 19 h 326"/>
                <a:gd name="T46" fmla="*/ 306 w 326"/>
                <a:gd name="T47" fmla="*/ 157 h 326"/>
                <a:gd name="T48" fmla="*/ 309 w 326"/>
                <a:gd name="T49" fmla="*/ 163 h 326"/>
                <a:gd name="T50" fmla="*/ 306 w 326"/>
                <a:gd name="T51" fmla="*/ 16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6" h="326">
                  <a:moveTo>
                    <a:pt x="323" y="157"/>
                  </a:moveTo>
                  <a:cubicBezTo>
                    <a:pt x="169" y="2"/>
                    <a:pt x="169" y="2"/>
                    <a:pt x="169" y="2"/>
                  </a:cubicBezTo>
                  <a:cubicBezTo>
                    <a:pt x="167" y="0"/>
                    <a:pt x="164" y="0"/>
                    <a:pt x="163" y="0"/>
                  </a:cubicBezTo>
                  <a:cubicBezTo>
                    <a:pt x="162" y="0"/>
                    <a:pt x="159" y="0"/>
                    <a:pt x="157" y="2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1" y="158"/>
                    <a:pt x="0" y="160"/>
                    <a:pt x="0" y="163"/>
                  </a:cubicBezTo>
                  <a:cubicBezTo>
                    <a:pt x="0" y="165"/>
                    <a:pt x="1" y="167"/>
                    <a:pt x="3" y="169"/>
                  </a:cubicBezTo>
                  <a:cubicBezTo>
                    <a:pt x="157" y="323"/>
                    <a:pt x="157" y="323"/>
                    <a:pt x="157" y="323"/>
                  </a:cubicBezTo>
                  <a:cubicBezTo>
                    <a:pt x="159" y="325"/>
                    <a:pt x="162" y="326"/>
                    <a:pt x="163" y="326"/>
                  </a:cubicBezTo>
                  <a:cubicBezTo>
                    <a:pt x="164" y="326"/>
                    <a:pt x="167" y="325"/>
                    <a:pt x="169" y="323"/>
                  </a:cubicBezTo>
                  <a:cubicBezTo>
                    <a:pt x="323" y="169"/>
                    <a:pt x="323" y="169"/>
                    <a:pt x="323" y="169"/>
                  </a:cubicBezTo>
                  <a:cubicBezTo>
                    <a:pt x="325" y="167"/>
                    <a:pt x="326" y="164"/>
                    <a:pt x="326" y="163"/>
                  </a:cubicBezTo>
                  <a:cubicBezTo>
                    <a:pt x="326" y="161"/>
                    <a:pt x="325" y="159"/>
                    <a:pt x="323" y="157"/>
                  </a:cubicBezTo>
                  <a:close/>
                  <a:moveTo>
                    <a:pt x="306" y="168"/>
                  </a:moveTo>
                  <a:cubicBezTo>
                    <a:pt x="168" y="306"/>
                    <a:pt x="168" y="306"/>
                    <a:pt x="168" y="306"/>
                  </a:cubicBezTo>
                  <a:cubicBezTo>
                    <a:pt x="167" y="308"/>
                    <a:pt x="164" y="308"/>
                    <a:pt x="163" y="308"/>
                  </a:cubicBezTo>
                  <a:cubicBezTo>
                    <a:pt x="162" y="308"/>
                    <a:pt x="159" y="308"/>
                    <a:pt x="157" y="306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18" y="167"/>
                    <a:pt x="17" y="165"/>
                    <a:pt x="17" y="163"/>
                  </a:cubicBezTo>
                  <a:cubicBezTo>
                    <a:pt x="17" y="161"/>
                    <a:pt x="18" y="159"/>
                    <a:pt x="20" y="157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9" y="17"/>
                    <a:pt x="162" y="17"/>
                    <a:pt x="163" y="17"/>
                  </a:cubicBezTo>
                  <a:cubicBezTo>
                    <a:pt x="164" y="17"/>
                    <a:pt x="167" y="17"/>
                    <a:pt x="168" y="19"/>
                  </a:cubicBezTo>
                  <a:cubicBezTo>
                    <a:pt x="306" y="157"/>
                    <a:pt x="306" y="157"/>
                    <a:pt x="306" y="157"/>
                  </a:cubicBezTo>
                  <a:cubicBezTo>
                    <a:pt x="308" y="159"/>
                    <a:pt x="309" y="161"/>
                    <a:pt x="309" y="163"/>
                  </a:cubicBezTo>
                  <a:cubicBezTo>
                    <a:pt x="309" y="164"/>
                    <a:pt x="308" y="166"/>
                    <a:pt x="306" y="16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endParaRPr lang="en-US" sz="1800" ker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EC382A8-BF86-6441-B1EC-60A948CD2E2A}"/>
              </a:ext>
            </a:extLst>
          </p:cNvPr>
          <p:cNvGrpSpPr/>
          <p:nvPr/>
        </p:nvGrpSpPr>
        <p:grpSpPr>
          <a:xfrm>
            <a:off x="1282866" y="1284627"/>
            <a:ext cx="754764" cy="1154587"/>
            <a:chOff x="5997254" y="2460748"/>
            <a:chExt cx="1616608" cy="2669888"/>
          </a:xfrm>
          <a:solidFill>
            <a:schemeClr val="tx2"/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D879E62-4C9E-7644-8EC7-E53D600C2D42}"/>
                </a:ext>
              </a:extLst>
            </p:cNvPr>
            <p:cNvSpPr/>
            <p:nvPr/>
          </p:nvSpPr>
          <p:spPr>
            <a:xfrm>
              <a:off x="6718887" y="4188899"/>
              <a:ext cx="191914" cy="941737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>
                <a:defRPr/>
              </a:pPr>
              <a:endParaRPr lang="en-US" sz="1800" ker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20AF24BE-D336-2146-9C21-5CF46F3B62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7254" y="2460748"/>
              <a:ext cx="1616608" cy="1618702"/>
            </a:xfrm>
            <a:custGeom>
              <a:avLst/>
              <a:gdLst>
                <a:gd name="T0" fmla="*/ 323 w 326"/>
                <a:gd name="T1" fmla="*/ 157 h 326"/>
                <a:gd name="T2" fmla="*/ 169 w 326"/>
                <a:gd name="T3" fmla="*/ 2 h 326"/>
                <a:gd name="T4" fmla="*/ 163 w 326"/>
                <a:gd name="T5" fmla="*/ 0 h 326"/>
                <a:gd name="T6" fmla="*/ 157 w 326"/>
                <a:gd name="T7" fmla="*/ 2 h 326"/>
                <a:gd name="T8" fmla="*/ 3 w 326"/>
                <a:gd name="T9" fmla="*/ 157 h 326"/>
                <a:gd name="T10" fmla="*/ 0 w 326"/>
                <a:gd name="T11" fmla="*/ 163 h 326"/>
                <a:gd name="T12" fmla="*/ 3 w 326"/>
                <a:gd name="T13" fmla="*/ 169 h 326"/>
                <a:gd name="T14" fmla="*/ 157 w 326"/>
                <a:gd name="T15" fmla="*/ 323 h 326"/>
                <a:gd name="T16" fmla="*/ 163 w 326"/>
                <a:gd name="T17" fmla="*/ 326 h 326"/>
                <a:gd name="T18" fmla="*/ 169 w 326"/>
                <a:gd name="T19" fmla="*/ 323 h 326"/>
                <a:gd name="T20" fmla="*/ 323 w 326"/>
                <a:gd name="T21" fmla="*/ 169 h 326"/>
                <a:gd name="T22" fmla="*/ 326 w 326"/>
                <a:gd name="T23" fmla="*/ 163 h 326"/>
                <a:gd name="T24" fmla="*/ 323 w 326"/>
                <a:gd name="T25" fmla="*/ 157 h 326"/>
                <a:gd name="T26" fmla="*/ 306 w 326"/>
                <a:gd name="T27" fmla="*/ 168 h 326"/>
                <a:gd name="T28" fmla="*/ 168 w 326"/>
                <a:gd name="T29" fmla="*/ 306 h 326"/>
                <a:gd name="T30" fmla="*/ 163 w 326"/>
                <a:gd name="T31" fmla="*/ 308 h 326"/>
                <a:gd name="T32" fmla="*/ 157 w 326"/>
                <a:gd name="T33" fmla="*/ 306 h 326"/>
                <a:gd name="T34" fmla="*/ 20 w 326"/>
                <a:gd name="T35" fmla="*/ 168 h 326"/>
                <a:gd name="T36" fmla="*/ 17 w 326"/>
                <a:gd name="T37" fmla="*/ 163 h 326"/>
                <a:gd name="T38" fmla="*/ 20 w 326"/>
                <a:gd name="T39" fmla="*/ 157 h 326"/>
                <a:gd name="T40" fmla="*/ 157 w 326"/>
                <a:gd name="T41" fmla="*/ 19 h 326"/>
                <a:gd name="T42" fmla="*/ 163 w 326"/>
                <a:gd name="T43" fmla="*/ 17 h 326"/>
                <a:gd name="T44" fmla="*/ 168 w 326"/>
                <a:gd name="T45" fmla="*/ 19 h 326"/>
                <a:gd name="T46" fmla="*/ 306 w 326"/>
                <a:gd name="T47" fmla="*/ 157 h 326"/>
                <a:gd name="T48" fmla="*/ 309 w 326"/>
                <a:gd name="T49" fmla="*/ 163 h 326"/>
                <a:gd name="T50" fmla="*/ 306 w 326"/>
                <a:gd name="T51" fmla="*/ 16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6" h="326">
                  <a:moveTo>
                    <a:pt x="323" y="157"/>
                  </a:moveTo>
                  <a:cubicBezTo>
                    <a:pt x="169" y="2"/>
                    <a:pt x="169" y="2"/>
                    <a:pt x="169" y="2"/>
                  </a:cubicBezTo>
                  <a:cubicBezTo>
                    <a:pt x="167" y="0"/>
                    <a:pt x="164" y="0"/>
                    <a:pt x="163" y="0"/>
                  </a:cubicBezTo>
                  <a:cubicBezTo>
                    <a:pt x="162" y="0"/>
                    <a:pt x="159" y="0"/>
                    <a:pt x="157" y="2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1" y="158"/>
                    <a:pt x="0" y="160"/>
                    <a:pt x="0" y="163"/>
                  </a:cubicBezTo>
                  <a:cubicBezTo>
                    <a:pt x="0" y="165"/>
                    <a:pt x="1" y="167"/>
                    <a:pt x="3" y="169"/>
                  </a:cubicBezTo>
                  <a:cubicBezTo>
                    <a:pt x="157" y="323"/>
                    <a:pt x="157" y="323"/>
                    <a:pt x="157" y="323"/>
                  </a:cubicBezTo>
                  <a:cubicBezTo>
                    <a:pt x="159" y="325"/>
                    <a:pt x="162" y="326"/>
                    <a:pt x="163" y="326"/>
                  </a:cubicBezTo>
                  <a:cubicBezTo>
                    <a:pt x="164" y="326"/>
                    <a:pt x="167" y="325"/>
                    <a:pt x="169" y="323"/>
                  </a:cubicBezTo>
                  <a:cubicBezTo>
                    <a:pt x="323" y="169"/>
                    <a:pt x="323" y="169"/>
                    <a:pt x="323" y="169"/>
                  </a:cubicBezTo>
                  <a:cubicBezTo>
                    <a:pt x="325" y="167"/>
                    <a:pt x="326" y="164"/>
                    <a:pt x="326" y="163"/>
                  </a:cubicBezTo>
                  <a:cubicBezTo>
                    <a:pt x="326" y="161"/>
                    <a:pt x="325" y="159"/>
                    <a:pt x="323" y="157"/>
                  </a:cubicBezTo>
                  <a:close/>
                  <a:moveTo>
                    <a:pt x="306" y="168"/>
                  </a:moveTo>
                  <a:cubicBezTo>
                    <a:pt x="168" y="306"/>
                    <a:pt x="168" y="306"/>
                    <a:pt x="168" y="306"/>
                  </a:cubicBezTo>
                  <a:cubicBezTo>
                    <a:pt x="167" y="308"/>
                    <a:pt x="164" y="308"/>
                    <a:pt x="163" y="308"/>
                  </a:cubicBezTo>
                  <a:cubicBezTo>
                    <a:pt x="162" y="308"/>
                    <a:pt x="159" y="308"/>
                    <a:pt x="157" y="306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18" y="167"/>
                    <a:pt x="17" y="165"/>
                    <a:pt x="17" y="163"/>
                  </a:cubicBezTo>
                  <a:cubicBezTo>
                    <a:pt x="17" y="161"/>
                    <a:pt x="18" y="159"/>
                    <a:pt x="20" y="157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9" y="17"/>
                    <a:pt x="162" y="17"/>
                    <a:pt x="163" y="17"/>
                  </a:cubicBezTo>
                  <a:cubicBezTo>
                    <a:pt x="164" y="17"/>
                    <a:pt x="167" y="17"/>
                    <a:pt x="168" y="19"/>
                  </a:cubicBezTo>
                  <a:cubicBezTo>
                    <a:pt x="306" y="157"/>
                    <a:pt x="306" y="157"/>
                    <a:pt x="306" y="157"/>
                  </a:cubicBezTo>
                  <a:cubicBezTo>
                    <a:pt x="308" y="159"/>
                    <a:pt x="309" y="161"/>
                    <a:pt x="309" y="163"/>
                  </a:cubicBezTo>
                  <a:cubicBezTo>
                    <a:pt x="309" y="164"/>
                    <a:pt x="308" y="166"/>
                    <a:pt x="306" y="16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endParaRPr lang="en-US" sz="1800" ker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sp>
        <p:nvSpPr>
          <p:cNvPr id="22" name="TextBox 47">
            <a:extLst>
              <a:ext uri="{FF2B5EF4-FFF2-40B4-BE49-F238E27FC236}">
                <a16:creationId xmlns:a16="http://schemas.microsoft.com/office/drawing/2014/main" id="{322689EE-5DAA-4067-82F5-510C69D95EA0}"/>
              </a:ext>
            </a:extLst>
          </p:cNvPr>
          <p:cNvSpPr txBox="1"/>
          <p:nvPr/>
        </p:nvSpPr>
        <p:spPr>
          <a:xfrm>
            <a:off x="911947" y="4781330"/>
            <a:ext cx="3070682" cy="138499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MODELLING AND COMPARIS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Picked the model which had the best tradeoff between precision and reca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endParaRPr>
          </a:p>
        </p:txBody>
      </p:sp>
      <p:sp>
        <p:nvSpPr>
          <p:cNvPr id="24" name="TextBox 2">
            <a:extLst>
              <a:ext uri="{FF2B5EF4-FFF2-40B4-BE49-F238E27FC236}">
                <a16:creationId xmlns:a16="http://schemas.microsoft.com/office/drawing/2014/main" id="{2B7D965B-46B1-4F8F-A475-1827E93E9FD9}"/>
              </a:ext>
            </a:extLst>
          </p:cNvPr>
          <p:cNvSpPr txBox="1"/>
          <p:nvPr/>
        </p:nvSpPr>
        <p:spPr>
          <a:xfrm>
            <a:off x="1507119" y="1446644"/>
            <a:ext cx="292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>
                <a:solidFill>
                  <a:schemeClr val="tx2"/>
                </a:solidFill>
                <a:latin typeface="Tw Cen MT" panose="020B0602020104020603" pitchFamily="34" charset="77"/>
              </a:rPr>
              <a:t>1</a:t>
            </a:r>
          </a:p>
        </p:txBody>
      </p:sp>
      <p:sp>
        <p:nvSpPr>
          <p:cNvPr id="25" name="TextBox 37">
            <a:extLst>
              <a:ext uri="{FF2B5EF4-FFF2-40B4-BE49-F238E27FC236}">
                <a16:creationId xmlns:a16="http://schemas.microsoft.com/office/drawing/2014/main" id="{529059FA-6222-4940-884A-07094558FCA8}"/>
              </a:ext>
            </a:extLst>
          </p:cNvPr>
          <p:cNvSpPr txBox="1"/>
          <p:nvPr/>
        </p:nvSpPr>
        <p:spPr>
          <a:xfrm>
            <a:off x="4353844" y="1636796"/>
            <a:ext cx="292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>
                <a:solidFill>
                  <a:schemeClr val="tx2"/>
                </a:solidFill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26" name="TextBox 38">
            <a:extLst>
              <a:ext uri="{FF2B5EF4-FFF2-40B4-BE49-F238E27FC236}">
                <a16:creationId xmlns:a16="http://schemas.microsoft.com/office/drawing/2014/main" id="{1D6A1C82-2FF6-4F03-8C0D-60BC2966A109}"/>
              </a:ext>
            </a:extLst>
          </p:cNvPr>
          <p:cNvSpPr txBox="1"/>
          <p:nvPr/>
        </p:nvSpPr>
        <p:spPr>
          <a:xfrm>
            <a:off x="4172259" y="3790915"/>
            <a:ext cx="2929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chemeClr val="tx2"/>
                </a:solidFill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27" name="TextBox 39">
            <a:extLst>
              <a:ext uri="{FF2B5EF4-FFF2-40B4-BE49-F238E27FC236}">
                <a16:creationId xmlns:a16="http://schemas.microsoft.com/office/drawing/2014/main" id="{E7AB213F-A9FB-4890-901A-26873DA5CE41}"/>
              </a:ext>
            </a:extLst>
          </p:cNvPr>
          <p:cNvSpPr txBox="1"/>
          <p:nvPr/>
        </p:nvSpPr>
        <p:spPr>
          <a:xfrm>
            <a:off x="7770103" y="4645086"/>
            <a:ext cx="3392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>
                <a:solidFill>
                  <a:schemeClr val="tx2"/>
                </a:solidFill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37" name="TextBox 47">
            <a:extLst>
              <a:ext uri="{FF2B5EF4-FFF2-40B4-BE49-F238E27FC236}">
                <a16:creationId xmlns:a16="http://schemas.microsoft.com/office/drawing/2014/main" id="{645C7A77-2AC6-4007-B8BB-B2E721D1C3DB}"/>
              </a:ext>
            </a:extLst>
          </p:cNvPr>
          <p:cNvSpPr txBox="1"/>
          <p:nvPr/>
        </p:nvSpPr>
        <p:spPr>
          <a:xfrm>
            <a:off x="8485493" y="4359892"/>
            <a:ext cx="3541441" cy="1815882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MANUAL TAGG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Tagged prediction data (1846 rows in ‘General’ subcategory into actual catego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Ran trained model on prediction dataset</a:t>
            </a:r>
          </a:p>
          <a:p>
            <a:endParaRPr lang="en-US" sz="1600" b="1" dirty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endParaRPr>
          </a:p>
        </p:txBody>
      </p:sp>
      <p:sp>
        <p:nvSpPr>
          <p:cNvPr id="39" name="TextBox 47">
            <a:extLst>
              <a:ext uri="{FF2B5EF4-FFF2-40B4-BE49-F238E27FC236}">
                <a16:creationId xmlns:a16="http://schemas.microsoft.com/office/drawing/2014/main" id="{7F23C1ED-8868-47A6-9CB8-2AE6A22453E6}"/>
              </a:ext>
            </a:extLst>
          </p:cNvPr>
          <p:cNvSpPr txBox="1"/>
          <p:nvPr/>
        </p:nvSpPr>
        <p:spPr>
          <a:xfrm>
            <a:off x="594210" y="4937184"/>
            <a:ext cx="3802098" cy="646331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1">
              <a:solidFill>
                <a:schemeClr val="tx2"/>
              </a:solidFill>
              <a:cs typeface="Calibri"/>
            </a:endParaRPr>
          </a:p>
          <a:p>
            <a:endParaRPr lang="en-US" b="1">
              <a:solidFill>
                <a:schemeClr val="tx2"/>
              </a:solidFill>
              <a:cs typeface="Calibri"/>
            </a:endParaRPr>
          </a:p>
        </p:txBody>
      </p:sp>
      <p:sp>
        <p:nvSpPr>
          <p:cNvPr id="5" name="TextBox 47">
            <a:extLst>
              <a:ext uri="{FF2B5EF4-FFF2-40B4-BE49-F238E27FC236}">
                <a16:creationId xmlns:a16="http://schemas.microsoft.com/office/drawing/2014/main" id="{0B36EBE2-EC26-73E3-06EA-BAF11D73BD1E}"/>
              </a:ext>
            </a:extLst>
          </p:cNvPr>
          <p:cNvSpPr txBox="1"/>
          <p:nvPr/>
        </p:nvSpPr>
        <p:spPr>
          <a:xfrm>
            <a:off x="370161" y="2651736"/>
            <a:ext cx="3802098" cy="1569660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WEB DATA SCRAP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Total of 420 localities in USA, for which links were scrapp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For each of the 420 localities, we extracted the links for subcategories</a:t>
            </a:r>
          </a:p>
          <a:p>
            <a:endParaRPr lang="en-US" sz="1600" dirty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endParaRPr>
          </a:p>
        </p:txBody>
      </p:sp>
      <p:sp>
        <p:nvSpPr>
          <p:cNvPr id="6" name="TextBox 47">
            <a:extLst>
              <a:ext uri="{FF2B5EF4-FFF2-40B4-BE49-F238E27FC236}">
                <a16:creationId xmlns:a16="http://schemas.microsoft.com/office/drawing/2014/main" id="{CCF09909-7A7D-A09A-6FBA-89CF85E47DC9}"/>
              </a:ext>
            </a:extLst>
          </p:cNvPr>
          <p:cNvSpPr txBox="1"/>
          <p:nvPr/>
        </p:nvSpPr>
        <p:spPr>
          <a:xfrm>
            <a:off x="5340289" y="905959"/>
            <a:ext cx="3994317" cy="243143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DATA PRE-PROCESSING AND TRAIN-TEST SPL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Cleaned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Removed stop wo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Tokeniz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TF-IDF (After train-test spl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endParaRPr>
          </a:p>
          <a:p>
            <a:endParaRPr lang="en-US" sz="2000" dirty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endParaRPr>
          </a:p>
          <a:p>
            <a:endParaRPr lang="en-US" sz="2000" dirty="0">
              <a:solidFill>
                <a:schemeClr val="tx2"/>
              </a:solidFill>
              <a:latin typeface="Tw Cen MT" panose="020B0602020104020603" pitchFamily="34" charset="77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4787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A84455-D2F9-DE3F-8A8A-021C1C69A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8293" y="1545918"/>
            <a:ext cx="6798608" cy="2346136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400">
                <a:solidFill>
                  <a:schemeClr val="tx2"/>
                </a:solidFill>
                <a:latin typeface="Tw Cen MT" panose="020B0602020104020603" pitchFamily="34" charset="77"/>
              </a:rPr>
              <a:t>METHODOLOGY</a:t>
            </a:r>
          </a:p>
        </p:txBody>
      </p:sp>
      <p:pic>
        <p:nvPicPr>
          <p:cNvPr id="7" name="Graphic 6" descr="Bar chart">
            <a:extLst>
              <a:ext uri="{FF2B5EF4-FFF2-40B4-BE49-F238E27FC236}">
                <a16:creationId xmlns:a16="http://schemas.microsoft.com/office/drawing/2014/main" id="{AAEA54C7-9496-203B-25EB-3D3B26D7C3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5821" y="1825067"/>
            <a:ext cx="3053422" cy="3053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4195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BAA215-E015-8EB3-EBBE-7A209C366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594" y="177776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METHODOLOGY</a:t>
            </a:r>
          </a:p>
        </p:txBody>
      </p:sp>
      <p:sp>
        <p:nvSpPr>
          <p:cNvPr id="5" name="Curved Left Arrow 4">
            <a:extLst>
              <a:ext uri="{FF2B5EF4-FFF2-40B4-BE49-F238E27FC236}">
                <a16:creationId xmlns:a16="http://schemas.microsoft.com/office/drawing/2014/main" id="{9DE34D5A-3D05-9787-C0E6-9AEDD6FEF781}"/>
              </a:ext>
            </a:extLst>
          </p:cNvPr>
          <p:cNvSpPr/>
          <p:nvPr/>
        </p:nvSpPr>
        <p:spPr>
          <a:xfrm>
            <a:off x="1835449" y="2311896"/>
            <a:ext cx="8198068" cy="2719101"/>
          </a:xfrm>
          <a:prstGeom prst="curvedLeftArrow">
            <a:avLst/>
          </a:prstGeom>
          <a:solidFill>
            <a:schemeClr val="accent1">
              <a:lumMod val="60000"/>
              <a:lumOff val="40000"/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8BBFF05-DAC4-D1C9-3FC3-067F6040F48F}"/>
              </a:ext>
            </a:extLst>
          </p:cNvPr>
          <p:cNvSpPr/>
          <p:nvPr/>
        </p:nvSpPr>
        <p:spPr>
          <a:xfrm>
            <a:off x="2993786" y="2202445"/>
            <a:ext cx="2050529" cy="92619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81784361">
                  <a:custGeom>
                    <a:avLst/>
                    <a:gdLst>
                      <a:gd name="connsiteX0" fmla="*/ 0 w 1307714"/>
                      <a:gd name="connsiteY0" fmla="*/ 0 h 538605"/>
                      <a:gd name="connsiteX1" fmla="*/ 653857 w 1307714"/>
                      <a:gd name="connsiteY1" fmla="*/ 0 h 538605"/>
                      <a:gd name="connsiteX2" fmla="*/ 1307714 w 1307714"/>
                      <a:gd name="connsiteY2" fmla="*/ 0 h 538605"/>
                      <a:gd name="connsiteX3" fmla="*/ 1307714 w 1307714"/>
                      <a:gd name="connsiteY3" fmla="*/ 538605 h 538605"/>
                      <a:gd name="connsiteX4" fmla="*/ 627703 w 1307714"/>
                      <a:gd name="connsiteY4" fmla="*/ 538605 h 538605"/>
                      <a:gd name="connsiteX5" fmla="*/ 0 w 1307714"/>
                      <a:gd name="connsiteY5" fmla="*/ 538605 h 538605"/>
                      <a:gd name="connsiteX6" fmla="*/ 0 w 1307714"/>
                      <a:gd name="connsiteY6" fmla="*/ 0 h 5386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07714" h="538605" fill="none" extrusionOk="0">
                        <a:moveTo>
                          <a:pt x="0" y="0"/>
                        </a:moveTo>
                        <a:cubicBezTo>
                          <a:pt x="250076" y="26373"/>
                          <a:pt x="416258" y="14342"/>
                          <a:pt x="653857" y="0"/>
                        </a:cubicBezTo>
                        <a:cubicBezTo>
                          <a:pt x="891456" y="-14342"/>
                          <a:pt x="1064787" y="-27869"/>
                          <a:pt x="1307714" y="0"/>
                        </a:cubicBezTo>
                        <a:cubicBezTo>
                          <a:pt x="1284963" y="249766"/>
                          <a:pt x="1306844" y="365375"/>
                          <a:pt x="1307714" y="538605"/>
                        </a:cubicBezTo>
                        <a:cubicBezTo>
                          <a:pt x="1070230" y="559525"/>
                          <a:pt x="770318" y="548711"/>
                          <a:pt x="627703" y="538605"/>
                        </a:cubicBezTo>
                        <a:cubicBezTo>
                          <a:pt x="485088" y="528499"/>
                          <a:pt x="273549" y="544375"/>
                          <a:pt x="0" y="538605"/>
                        </a:cubicBezTo>
                        <a:cubicBezTo>
                          <a:pt x="17990" y="350222"/>
                          <a:pt x="-19219" y="225388"/>
                          <a:pt x="0" y="0"/>
                        </a:cubicBezTo>
                        <a:close/>
                      </a:path>
                      <a:path w="1307714" h="538605" stroke="0" extrusionOk="0">
                        <a:moveTo>
                          <a:pt x="0" y="0"/>
                        </a:moveTo>
                        <a:cubicBezTo>
                          <a:pt x="320074" y="9160"/>
                          <a:pt x="507876" y="12018"/>
                          <a:pt x="666934" y="0"/>
                        </a:cubicBezTo>
                        <a:cubicBezTo>
                          <a:pt x="825992" y="-12018"/>
                          <a:pt x="1122365" y="11717"/>
                          <a:pt x="1307714" y="0"/>
                        </a:cubicBezTo>
                        <a:cubicBezTo>
                          <a:pt x="1313235" y="152248"/>
                          <a:pt x="1311249" y="366622"/>
                          <a:pt x="1307714" y="538605"/>
                        </a:cubicBezTo>
                        <a:cubicBezTo>
                          <a:pt x="986033" y="561882"/>
                          <a:pt x="830976" y="564598"/>
                          <a:pt x="627703" y="538605"/>
                        </a:cubicBezTo>
                        <a:cubicBezTo>
                          <a:pt x="424430" y="512612"/>
                          <a:pt x="155995" y="536305"/>
                          <a:pt x="0" y="538605"/>
                        </a:cubicBezTo>
                        <a:cubicBezTo>
                          <a:pt x="18689" y="349086"/>
                          <a:pt x="14982" y="25091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  <a:latin typeface="Tw Cen MT" panose="020B0602020104020603" pitchFamily="34" charset="77"/>
              </a:rPr>
              <a:t>Scrape Data from Craigslis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530313E-F8B3-29E3-E314-2AA955D9429F}"/>
              </a:ext>
            </a:extLst>
          </p:cNvPr>
          <p:cNvSpPr/>
          <p:nvPr/>
        </p:nvSpPr>
        <p:spPr>
          <a:xfrm>
            <a:off x="5399136" y="2202449"/>
            <a:ext cx="1925400" cy="92619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81784361">
                  <a:custGeom>
                    <a:avLst/>
                    <a:gdLst>
                      <a:gd name="connsiteX0" fmla="*/ 0 w 1307714"/>
                      <a:gd name="connsiteY0" fmla="*/ 0 h 538605"/>
                      <a:gd name="connsiteX1" fmla="*/ 653857 w 1307714"/>
                      <a:gd name="connsiteY1" fmla="*/ 0 h 538605"/>
                      <a:gd name="connsiteX2" fmla="*/ 1307714 w 1307714"/>
                      <a:gd name="connsiteY2" fmla="*/ 0 h 538605"/>
                      <a:gd name="connsiteX3" fmla="*/ 1307714 w 1307714"/>
                      <a:gd name="connsiteY3" fmla="*/ 538605 h 538605"/>
                      <a:gd name="connsiteX4" fmla="*/ 627703 w 1307714"/>
                      <a:gd name="connsiteY4" fmla="*/ 538605 h 538605"/>
                      <a:gd name="connsiteX5" fmla="*/ 0 w 1307714"/>
                      <a:gd name="connsiteY5" fmla="*/ 538605 h 538605"/>
                      <a:gd name="connsiteX6" fmla="*/ 0 w 1307714"/>
                      <a:gd name="connsiteY6" fmla="*/ 0 h 5386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07714" h="538605" fill="none" extrusionOk="0">
                        <a:moveTo>
                          <a:pt x="0" y="0"/>
                        </a:moveTo>
                        <a:cubicBezTo>
                          <a:pt x="250076" y="26373"/>
                          <a:pt x="416258" y="14342"/>
                          <a:pt x="653857" y="0"/>
                        </a:cubicBezTo>
                        <a:cubicBezTo>
                          <a:pt x="891456" y="-14342"/>
                          <a:pt x="1064787" y="-27869"/>
                          <a:pt x="1307714" y="0"/>
                        </a:cubicBezTo>
                        <a:cubicBezTo>
                          <a:pt x="1284963" y="249766"/>
                          <a:pt x="1306844" y="365375"/>
                          <a:pt x="1307714" y="538605"/>
                        </a:cubicBezTo>
                        <a:cubicBezTo>
                          <a:pt x="1070230" y="559525"/>
                          <a:pt x="770318" y="548711"/>
                          <a:pt x="627703" y="538605"/>
                        </a:cubicBezTo>
                        <a:cubicBezTo>
                          <a:pt x="485088" y="528499"/>
                          <a:pt x="273549" y="544375"/>
                          <a:pt x="0" y="538605"/>
                        </a:cubicBezTo>
                        <a:cubicBezTo>
                          <a:pt x="17990" y="350222"/>
                          <a:pt x="-19219" y="225388"/>
                          <a:pt x="0" y="0"/>
                        </a:cubicBezTo>
                        <a:close/>
                      </a:path>
                      <a:path w="1307714" h="538605" stroke="0" extrusionOk="0">
                        <a:moveTo>
                          <a:pt x="0" y="0"/>
                        </a:moveTo>
                        <a:cubicBezTo>
                          <a:pt x="320074" y="9160"/>
                          <a:pt x="507876" y="12018"/>
                          <a:pt x="666934" y="0"/>
                        </a:cubicBezTo>
                        <a:cubicBezTo>
                          <a:pt x="825992" y="-12018"/>
                          <a:pt x="1122365" y="11717"/>
                          <a:pt x="1307714" y="0"/>
                        </a:cubicBezTo>
                        <a:cubicBezTo>
                          <a:pt x="1313235" y="152248"/>
                          <a:pt x="1311249" y="366622"/>
                          <a:pt x="1307714" y="538605"/>
                        </a:cubicBezTo>
                        <a:cubicBezTo>
                          <a:pt x="986033" y="561882"/>
                          <a:pt x="830976" y="564598"/>
                          <a:pt x="627703" y="538605"/>
                        </a:cubicBezTo>
                        <a:cubicBezTo>
                          <a:pt x="424430" y="512612"/>
                          <a:pt x="155995" y="536305"/>
                          <a:pt x="0" y="538605"/>
                        </a:cubicBezTo>
                        <a:cubicBezTo>
                          <a:pt x="18689" y="349086"/>
                          <a:pt x="14982" y="25091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schemeClr val="tx2"/>
              </a:solidFill>
              <a:latin typeface="Tw Cen MT" panose="020B0602020104020603" pitchFamily="34" charset="77"/>
              <a:ea typeface="+mn-lt"/>
              <a:cs typeface="+mn-lt"/>
            </a:endParaRPr>
          </a:p>
          <a:p>
            <a:pPr algn="ctr"/>
            <a:r>
              <a:rPr lang="en-US" dirty="0">
                <a:solidFill>
                  <a:schemeClr val="tx2"/>
                </a:solidFill>
                <a:latin typeface="Tw Cen MT" panose="020B0602020104020603" pitchFamily="34" charset="77"/>
                <a:ea typeface="+mn-lt"/>
                <a:cs typeface="+mn-lt"/>
              </a:rPr>
              <a:t>Train-Test Split</a:t>
            </a:r>
            <a:endParaRPr lang="en-US" dirty="0">
              <a:solidFill>
                <a:schemeClr val="tx2"/>
              </a:solidFill>
              <a:latin typeface="Tw Cen MT" panose="020B0602020104020603" pitchFamily="34" charset="77"/>
            </a:endParaRPr>
          </a:p>
          <a:p>
            <a:pPr algn="ctr"/>
            <a:endParaRPr lang="en-US" dirty="0">
              <a:solidFill>
                <a:schemeClr val="tx2"/>
              </a:solidFill>
              <a:latin typeface="Tw Cen MT" panose="020B0602020104020603" pitchFamily="34" charset="77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A1D4072-12F2-AF60-B433-7A5D2D4E92B0}"/>
              </a:ext>
            </a:extLst>
          </p:cNvPr>
          <p:cNvSpPr/>
          <p:nvPr/>
        </p:nvSpPr>
        <p:spPr>
          <a:xfrm>
            <a:off x="7679357" y="2202445"/>
            <a:ext cx="2000477" cy="92619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81784361">
                  <a:custGeom>
                    <a:avLst/>
                    <a:gdLst>
                      <a:gd name="connsiteX0" fmla="*/ 0 w 1307714"/>
                      <a:gd name="connsiteY0" fmla="*/ 0 h 538605"/>
                      <a:gd name="connsiteX1" fmla="*/ 653857 w 1307714"/>
                      <a:gd name="connsiteY1" fmla="*/ 0 h 538605"/>
                      <a:gd name="connsiteX2" fmla="*/ 1307714 w 1307714"/>
                      <a:gd name="connsiteY2" fmla="*/ 0 h 538605"/>
                      <a:gd name="connsiteX3" fmla="*/ 1307714 w 1307714"/>
                      <a:gd name="connsiteY3" fmla="*/ 538605 h 538605"/>
                      <a:gd name="connsiteX4" fmla="*/ 627703 w 1307714"/>
                      <a:gd name="connsiteY4" fmla="*/ 538605 h 538605"/>
                      <a:gd name="connsiteX5" fmla="*/ 0 w 1307714"/>
                      <a:gd name="connsiteY5" fmla="*/ 538605 h 538605"/>
                      <a:gd name="connsiteX6" fmla="*/ 0 w 1307714"/>
                      <a:gd name="connsiteY6" fmla="*/ 0 h 5386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07714" h="538605" fill="none" extrusionOk="0">
                        <a:moveTo>
                          <a:pt x="0" y="0"/>
                        </a:moveTo>
                        <a:cubicBezTo>
                          <a:pt x="250076" y="26373"/>
                          <a:pt x="416258" y="14342"/>
                          <a:pt x="653857" y="0"/>
                        </a:cubicBezTo>
                        <a:cubicBezTo>
                          <a:pt x="891456" y="-14342"/>
                          <a:pt x="1064787" y="-27869"/>
                          <a:pt x="1307714" y="0"/>
                        </a:cubicBezTo>
                        <a:cubicBezTo>
                          <a:pt x="1284963" y="249766"/>
                          <a:pt x="1306844" y="365375"/>
                          <a:pt x="1307714" y="538605"/>
                        </a:cubicBezTo>
                        <a:cubicBezTo>
                          <a:pt x="1070230" y="559525"/>
                          <a:pt x="770318" y="548711"/>
                          <a:pt x="627703" y="538605"/>
                        </a:cubicBezTo>
                        <a:cubicBezTo>
                          <a:pt x="485088" y="528499"/>
                          <a:pt x="273549" y="544375"/>
                          <a:pt x="0" y="538605"/>
                        </a:cubicBezTo>
                        <a:cubicBezTo>
                          <a:pt x="17990" y="350222"/>
                          <a:pt x="-19219" y="225388"/>
                          <a:pt x="0" y="0"/>
                        </a:cubicBezTo>
                        <a:close/>
                      </a:path>
                      <a:path w="1307714" h="538605" stroke="0" extrusionOk="0">
                        <a:moveTo>
                          <a:pt x="0" y="0"/>
                        </a:moveTo>
                        <a:cubicBezTo>
                          <a:pt x="320074" y="9160"/>
                          <a:pt x="507876" y="12018"/>
                          <a:pt x="666934" y="0"/>
                        </a:cubicBezTo>
                        <a:cubicBezTo>
                          <a:pt x="825992" y="-12018"/>
                          <a:pt x="1122365" y="11717"/>
                          <a:pt x="1307714" y="0"/>
                        </a:cubicBezTo>
                        <a:cubicBezTo>
                          <a:pt x="1313235" y="152248"/>
                          <a:pt x="1311249" y="366622"/>
                          <a:pt x="1307714" y="538605"/>
                        </a:cubicBezTo>
                        <a:cubicBezTo>
                          <a:pt x="986033" y="561882"/>
                          <a:pt x="830976" y="564598"/>
                          <a:pt x="627703" y="538605"/>
                        </a:cubicBezTo>
                        <a:cubicBezTo>
                          <a:pt x="424430" y="512612"/>
                          <a:pt x="155995" y="536305"/>
                          <a:pt x="0" y="538605"/>
                        </a:cubicBezTo>
                        <a:cubicBezTo>
                          <a:pt x="18689" y="349086"/>
                          <a:pt x="14982" y="25091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  <a:ea typeface="+mn-lt"/>
                <a:cs typeface="+mn-lt"/>
              </a:rPr>
              <a:t>Tokenization and Lemmatization</a:t>
            </a:r>
            <a:endParaRPr lang="en-US">
              <a:solidFill>
                <a:schemeClr val="tx2"/>
              </a:solidFill>
              <a:latin typeface="Tw Cen MT" panose="020B0602020104020603" pitchFamily="34" charset="77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D2AFBAA-F1FC-F40B-2CE5-3C7EA5FE32B6}"/>
              </a:ext>
            </a:extLst>
          </p:cNvPr>
          <p:cNvSpPr/>
          <p:nvPr/>
        </p:nvSpPr>
        <p:spPr>
          <a:xfrm>
            <a:off x="7679358" y="3826058"/>
            <a:ext cx="2000477" cy="92619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81784361">
                  <a:custGeom>
                    <a:avLst/>
                    <a:gdLst>
                      <a:gd name="connsiteX0" fmla="*/ 0 w 1307714"/>
                      <a:gd name="connsiteY0" fmla="*/ 0 h 538605"/>
                      <a:gd name="connsiteX1" fmla="*/ 653857 w 1307714"/>
                      <a:gd name="connsiteY1" fmla="*/ 0 h 538605"/>
                      <a:gd name="connsiteX2" fmla="*/ 1307714 w 1307714"/>
                      <a:gd name="connsiteY2" fmla="*/ 0 h 538605"/>
                      <a:gd name="connsiteX3" fmla="*/ 1307714 w 1307714"/>
                      <a:gd name="connsiteY3" fmla="*/ 538605 h 538605"/>
                      <a:gd name="connsiteX4" fmla="*/ 627703 w 1307714"/>
                      <a:gd name="connsiteY4" fmla="*/ 538605 h 538605"/>
                      <a:gd name="connsiteX5" fmla="*/ 0 w 1307714"/>
                      <a:gd name="connsiteY5" fmla="*/ 538605 h 538605"/>
                      <a:gd name="connsiteX6" fmla="*/ 0 w 1307714"/>
                      <a:gd name="connsiteY6" fmla="*/ 0 h 5386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07714" h="538605" fill="none" extrusionOk="0">
                        <a:moveTo>
                          <a:pt x="0" y="0"/>
                        </a:moveTo>
                        <a:cubicBezTo>
                          <a:pt x="250076" y="26373"/>
                          <a:pt x="416258" y="14342"/>
                          <a:pt x="653857" y="0"/>
                        </a:cubicBezTo>
                        <a:cubicBezTo>
                          <a:pt x="891456" y="-14342"/>
                          <a:pt x="1064787" y="-27869"/>
                          <a:pt x="1307714" y="0"/>
                        </a:cubicBezTo>
                        <a:cubicBezTo>
                          <a:pt x="1284963" y="249766"/>
                          <a:pt x="1306844" y="365375"/>
                          <a:pt x="1307714" y="538605"/>
                        </a:cubicBezTo>
                        <a:cubicBezTo>
                          <a:pt x="1070230" y="559525"/>
                          <a:pt x="770318" y="548711"/>
                          <a:pt x="627703" y="538605"/>
                        </a:cubicBezTo>
                        <a:cubicBezTo>
                          <a:pt x="485088" y="528499"/>
                          <a:pt x="273549" y="544375"/>
                          <a:pt x="0" y="538605"/>
                        </a:cubicBezTo>
                        <a:cubicBezTo>
                          <a:pt x="17990" y="350222"/>
                          <a:pt x="-19219" y="225388"/>
                          <a:pt x="0" y="0"/>
                        </a:cubicBezTo>
                        <a:close/>
                      </a:path>
                      <a:path w="1307714" h="538605" stroke="0" extrusionOk="0">
                        <a:moveTo>
                          <a:pt x="0" y="0"/>
                        </a:moveTo>
                        <a:cubicBezTo>
                          <a:pt x="320074" y="9160"/>
                          <a:pt x="507876" y="12018"/>
                          <a:pt x="666934" y="0"/>
                        </a:cubicBezTo>
                        <a:cubicBezTo>
                          <a:pt x="825992" y="-12018"/>
                          <a:pt x="1122365" y="11717"/>
                          <a:pt x="1307714" y="0"/>
                        </a:cubicBezTo>
                        <a:cubicBezTo>
                          <a:pt x="1313235" y="152248"/>
                          <a:pt x="1311249" y="366622"/>
                          <a:pt x="1307714" y="538605"/>
                        </a:cubicBezTo>
                        <a:cubicBezTo>
                          <a:pt x="986033" y="561882"/>
                          <a:pt x="830976" y="564598"/>
                          <a:pt x="627703" y="538605"/>
                        </a:cubicBezTo>
                        <a:cubicBezTo>
                          <a:pt x="424430" y="512612"/>
                          <a:pt x="155995" y="536305"/>
                          <a:pt x="0" y="538605"/>
                        </a:cubicBezTo>
                        <a:cubicBezTo>
                          <a:pt x="18689" y="349086"/>
                          <a:pt x="14982" y="25091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  <a:ea typeface="+mn-lt"/>
                <a:cs typeface="+mn-lt"/>
              </a:rPr>
              <a:t>TF-IDF Vectorization</a:t>
            </a:r>
            <a:endParaRPr lang="en-US">
              <a:solidFill>
                <a:schemeClr val="tx2"/>
              </a:solidFill>
              <a:latin typeface="Tw Cen MT" panose="020B0602020104020603" pitchFamily="34" charset="77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077BF6-E5AF-8251-9BCB-1F1471865D80}"/>
              </a:ext>
            </a:extLst>
          </p:cNvPr>
          <p:cNvSpPr/>
          <p:nvPr/>
        </p:nvSpPr>
        <p:spPr>
          <a:xfrm>
            <a:off x="5399136" y="3826060"/>
            <a:ext cx="1925400" cy="92619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81784361">
                  <a:custGeom>
                    <a:avLst/>
                    <a:gdLst>
                      <a:gd name="connsiteX0" fmla="*/ 0 w 1307714"/>
                      <a:gd name="connsiteY0" fmla="*/ 0 h 538605"/>
                      <a:gd name="connsiteX1" fmla="*/ 653857 w 1307714"/>
                      <a:gd name="connsiteY1" fmla="*/ 0 h 538605"/>
                      <a:gd name="connsiteX2" fmla="*/ 1307714 w 1307714"/>
                      <a:gd name="connsiteY2" fmla="*/ 0 h 538605"/>
                      <a:gd name="connsiteX3" fmla="*/ 1307714 w 1307714"/>
                      <a:gd name="connsiteY3" fmla="*/ 538605 h 538605"/>
                      <a:gd name="connsiteX4" fmla="*/ 627703 w 1307714"/>
                      <a:gd name="connsiteY4" fmla="*/ 538605 h 538605"/>
                      <a:gd name="connsiteX5" fmla="*/ 0 w 1307714"/>
                      <a:gd name="connsiteY5" fmla="*/ 538605 h 538605"/>
                      <a:gd name="connsiteX6" fmla="*/ 0 w 1307714"/>
                      <a:gd name="connsiteY6" fmla="*/ 0 h 5386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07714" h="538605" fill="none" extrusionOk="0">
                        <a:moveTo>
                          <a:pt x="0" y="0"/>
                        </a:moveTo>
                        <a:cubicBezTo>
                          <a:pt x="250076" y="26373"/>
                          <a:pt x="416258" y="14342"/>
                          <a:pt x="653857" y="0"/>
                        </a:cubicBezTo>
                        <a:cubicBezTo>
                          <a:pt x="891456" y="-14342"/>
                          <a:pt x="1064787" y="-27869"/>
                          <a:pt x="1307714" y="0"/>
                        </a:cubicBezTo>
                        <a:cubicBezTo>
                          <a:pt x="1284963" y="249766"/>
                          <a:pt x="1306844" y="365375"/>
                          <a:pt x="1307714" y="538605"/>
                        </a:cubicBezTo>
                        <a:cubicBezTo>
                          <a:pt x="1070230" y="559525"/>
                          <a:pt x="770318" y="548711"/>
                          <a:pt x="627703" y="538605"/>
                        </a:cubicBezTo>
                        <a:cubicBezTo>
                          <a:pt x="485088" y="528499"/>
                          <a:pt x="273549" y="544375"/>
                          <a:pt x="0" y="538605"/>
                        </a:cubicBezTo>
                        <a:cubicBezTo>
                          <a:pt x="17990" y="350222"/>
                          <a:pt x="-19219" y="225388"/>
                          <a:pt x="0" y="0"/>
                        </a:cubicBezTo>
                        <a:close/>
                      </a:path>
                      <a:path w="1307714" h="538605" stroke="0" extrusionOk="0">
                        <a:moveTo>
                          <a:pt x="0" y="0"/>
                        </a:moveTo>
                        <a:cubicBezTo>
                          <a:pt x="320074" y="9160"/>
                          <a:pt x="507876" y="12018"/>
                          <a:pt x="666934" y="0"/>
                        </a:cubicBezTo>
                        <a:cubicBezTo>
                          <a:pt x="825992" y="-12018"/>
                          <a:pt x="1122365" y="11717"/>
                          <a:pt x="1307714" y="0"/>
                        </a:cubicBezTo>
                        <a:cubicBezTo>
                          <a:pt x="1313235" y="152248"/>
                          <a:pt x="1311249" y="366622"/>
                          <a:pt x="1307714" y="538605"/>
                        </a:cubicBezTo>
                        <a:cubicBezTo>
                          <a:pt x="986033" y="561882"/>
                          <a:pt x="830976" y="564598"/>
                          <a:pt x="627703" y="538605"/>
                        </a:cubicBezTo>
                        <a:cubicBezTo>
                          <a:pt x="424430" y="512612"/>
                          <a:pt x="155995" y="536305"/>
                          <a:pt x="0" y="538605"/>
                        </a:cubicBezTo>
                        <a:cubicBezTo>
                          <a:pt x="18689" y="349086"/>
                          <a:pt x="14982" y="25091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</a:rPr>
              <a:t>Model Build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69148DF-0952-9885-7DE0-DB483C55559E}"/>
              </a:ext>
            </a:extLst>
          </p:cNvPr>
          <p:cNvSpPr/>
          <p:nvPr/>
        </p:nvSpPr>
        <p:spPr>
          <a:xfrm>
            <a:off x="3084981" y="3826058"/>
            <a:ext cx="1962938" cy="92619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  <a:extLst>
              <a:ext uri="{C807C97D-BFC1-408E-A445-0C87EB9F89A2}">
                <ask:lineSketchStyleProps xmlns:ask="http://schemas.microsoft.com/office/drawing/2018/sketchyshapes" sd="81784361">
                  <a:custGeom>
                    <a:avLst/>
                    <a:gdLst>
                      <a:gd name="connsiteX0" fmla="*/ 0 w 1307714"/>
                      <a:gd name="connsiteY0" fmla="*/ 0 h 538605"/>
                      <a:gd name="connsiteX1" fmla="*/ 653857 w 1307714"/>
                      <a:gd name="connsiteY1" fmla="*/ 0 h 538605"/>
                      <a:gd name="connsiteX2" fmla="*/ 1307714 w 1307714"/>
                      <a:gd name="connsiteY2" fmla="*/ 0 h 538605"/>
                      <a:gd name="connsiteX3" fmla="*/ 1307714 w 1307714"/>
                      <a:gd name="connsiteY3" fmla="*/ 538605 h 538605"/>
                      <a:gd name="connsiteX4" fmla="*/ 627703 w 1307714"/>
                      <a:gd name="connsiteY4" fmla="*/ 538605 h 538605"/>
                      <a:gd name="connsiteX5" fmla="*/ 0 w 1307714"/>
                      <a:gd name="connsiteY5" fmla="*/ 538605 h 538605"/>
                      <a:gd name="connsiteX6" fmla="*/ 0 w 1307714"/>
                      <a:gd name="connsiteY6" fmla="*/ 0 h 5386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07714" h="538605" fill="none" extrusionOk="0">
                        <a:moveTo>
                          <a:pt x="0" y="0"/>
                        </a:moveTo>
                        <a:cubicBezTo>
                          <a:pt x="250076" y="26373"/>
                          <a:pt x="416258" y="14342"/>
                          <a:pt x="653857" y="0"/>
                        </a:cubicBezTo>
                        <a:cubicBezTo>
                          <a:pt x="891456" y="-14342"/>
                          <a:pt x="1064787" y="-27869"/>
                          <a:pt x="1307714" y="0"/>
                        </a:cubicBezTo>
                        <a:cubicBezTo>
                          <a:pt x="1284963" y="249766"/>
                          <a:pt x="1306844" y="365375"/>
                          <a:pt x="1307714" y="538605"/>
                        </a:cubicBezTo>
                        <a:cubicBezTo>
                          <a:pt x="1070230" y="559525"/>
                          <a:pt x="770318" y="548711"/>
                          <a:pt x="627703" y="538605"/>
                        </a:cubicBezTo>
                        <a:cubicBezTo>
                          <a:pt x="485088" y="528499"/>
                          <a:pt x="273549" y="544375"/>
                          <a:pt x="0" y="538605"/>
                        </a:cubicBezTo>
                        <a:cubicBezTo>
                          <a:pt x="17990" y="350222"/>
                          <a:pt x="-19219" y="225388"/>
                          <a:pt x="0" y="0"/>
                        </a:cubicBezTo>
                        <a:close/>
                      </a:path>
                      <a:path w="1307714" h="538605" stroke="0" extrusionOk="0">
                        <a:moveTo>
                          <a:pt x="0" y="0"/>
                        </a:moveTo>
                        <a:cubicBezTo>
                          <a:pt x="320074" y="9160"/>
                          <a:pt x="507876" y="12018"/>
                          <a:pt x="666934" y="0"/>
                        </a:cubicBezTo>
                        <a:cubicBezTo>
                          <a:pt x="825992" y="-12018"/>
                          <a:pt x="1122365" y="11717"/>
                          <a:pt x="1307714" y="0"/>
                        </a:cubicBezTo>
                        <a:cubicBezTo>
                          <a:pt x="1313235" y="152248"/>
                          <a:pt x="1311249" y="366622"/>
                          <a:pt x="1307714" y="538605"/>
                        </a:cubicBezTo>
                        <a:cubicBezTo>
                          <a:pt x="986033" y="561882"/>
                          <a:pt x="830976" y="564598"/>
                          <a:pt x="627703" y="538605"/>
                        </a:cubicBezTo>
                        <a:cubicBezTo>
                          <a:pt x="424430" y="512612"/>
                          <a:pt x="155995" y="536305"/>
                          <a:pt x="0" y="538605"/>
                        </a:cubicBezTo>
                        <a:cubicBezTo>
                          <a:pt x="18689" y="349086"/>
                          <a:pt x="14982" y="25091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</a:rPr>
              <a:t>Data Labelling</a:t>
            </a:r>
          </a:p>
        </p:txBody>
      </p:sp>
    </p:spTree>
    <p:extLst>
      <p:ext uri="{BB962C8B-B14F-4D97-AF65-F5344CB8AC3E}">
        <p14:creationId xmlns:p14="http://schemas.microsoft.com/office/powerpoint/2010/main" val="2129044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54FD56-69A7-5693-FE8F-40A7501D0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087" y="136525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WEBSCRAPING LEARNINGS</a:t>
            </a:r>
          </a:p>
        </p:txBody>
      </p:sp>
      <p:sp>
        <p:nvSpPr>
          <p:cNvPr id="4" name="Slide Number Placeholder 34">
            <a:extLst>
              <a:ext uri="{FF2B5EF4-FFF2-40B4-BE49-F238E27FC236}">
                <a16:creationId xmlns:a16="http://schemas.microsoft.com/office/drawing/2014/main" id="{86BC7D67-296C-6D0D-0E2E-0612BBF0D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10E3CF-56B4-4AFB-84BD-0CA9978A7E13}" type="slidenum">
              <a:rPr lang="en-US" smtClean="0"/>
              <a:t>13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CE7C93-3960-3C01-9725-43AC104ECA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9"/>
          <a:stretch/>
        </p:blipFill>
        <p:spPr>
          <a:xfrm>
            <a:off x="2408881" y="1827333"/>
            <a:ext cx="7374238" cy="237697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2AA4FF6-531B-C1FB-233A-809358FA3F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3849" y="4724569"/>
            <a:ext cx="5172509" cy="35573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808786F-B8C3-134F-F342-13F4FA34D5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3849" y="5604610"/>
            <a:ext cx="5048509" cy="52072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538A649B-BCDB-4AB8-C06B-DB234DEC0BD4}"/>
              </a:ext>
            </a:extLst>
          </p:cNvPr>
          <p:cNvSpPr txBox="1"/>
          <p:nvPr/>
        </p:nvSpPr>
        <p:spPr>
          <a:xfrm>
            <a:off x="4743241" y="1455555"/>
            <a:ext cx="2554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USING FAKE AGEN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E86199-F4C2-F83F-D5D2-20BF6507E6C4}"/>
              </a:ext>
            </a:extLst>
          </p:cNvPr>
          <p:cNvSpPr txBox="1"/>
          <p:nvPr/>
        </p:nvSpPr>
        <p:spPr>
          <a:xfrm>
            <a:off x="4817344" y="4355237"/>
            <a:ext cx="2554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SLEE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CAE3D3F-FB1D-F112-E554-203196D2803D}"/>
              </a:ext>
            </a:extLst>
          </p:cNvPr>
          <p:cNvSpPr txBox="1"/>
          <p:nvPr/>
        </p:nvSpPr>
        <p:spPr>
          <a:xfrm>
            <a:off x="4434811" y="5264965"/>
            <a:ext cx="3439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RANDOMIZING LINKS READ</a:t>
            </a:r>
          </a:p>
        </p:txBody>
      </p:sp>
    </p:spTree>
    <p:extLst>
      <p:ext uri="{BB962C8B-B14F-4D97-AF65-F5344CB8AC3E}">
        <p14:creationId xmlns:p14="http://schemas.microsoft.com/office/powerpoint/2010/main" val="20501968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693F4-4986-681B-CE2C-1840CDFD903B}"/>
              </a:ext>
            </a:extLst>
          </p:cNvPr>
          <p:cNvSpPr txBox="1">
            <a:spLocks/>
          </p:cNvSpPr>
          <p:nvPr/>
        </p:nvSpPr>
        <p:spPr>
          <a:xfrm>
            <a:off x="529886" y="518180"/>
            <a:ext cx="11166814" cy="632374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WHAT CATEGORY / SUBCATEGORY are we targeting?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E3142F-FB67-4538-CD89-988BF08486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3404" y="1352684"/>
            <a:ext cx="5786257" cy="511384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32FAA47-DD67-BE00-E9FB-BE6DB107D1F1}"/>
              </a:ext>
            </a:extLst>
          </p:cNvPr>
          <p:cNvSpPr/>
          <p:nvPr/>
        </p:nvSpPr>
        <p:spPr>
          <a:xfrm>
            <a:off x="3250276" y="1271847"/>
            <a:ext cx="5893724" cy="52203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699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693F4-4986-681B-CE2C-1840CDFD903B}"/>
              </a:ext>
            </a:extLst>
          </p:cNvPr>
          <p:cNvSpPr txBox="1">
            <a:spLocks/>
          </p:cNvSpPr>
          <p:nvPr/>
        </p:nvSpPr>
        <p:spPr>
          <a:xfrm>
            <a:off x="529139" y="521635"/>
            <a:ext cx="11148511" cy="632374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WHAT CATEGORY / SUBCATEGORY are we targeting?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E3142F-FB67-4538-CD89-988BF084861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003" t="34642" r="14252" b="9489"/>
          <a:stretch/>
        </p:blipFill>
        <p:spPr>
          <a:xfrm>
            <a:off x="3250276" y="1271847"/>
            <a:ext cx="5893725" cy="522039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B3D74E9-C3BB-064D-6A8E-EDE5A8808A4D}"/>
              </a:ext>
            </a:extLst>
          </p:cNvPr>
          <p:cNvSpPr/>
          <p:nvPr/>
        </p:nvSpPr>
        <p:spPr>
          <a:xfrm>
            <a:off x="3250276" y="1271847"/>
            <a:ext cx="5893724" cy="52203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50A7C47-570A-F9BA-0F1C-7F0482865E3A}"/>
              </a:ext>
            </a:extLst>
          </p:cNvPr>
          <p:cNvCxnSpPr>
            <a:cxnSpLocks/>
          </p:cNvCxnSpPr>
          <p:nvPr/>
        </p:nvCxnSpPr>
        <p:spPr>
          <a:xfrm>
            <a:off x="5720486" y="1616659"/>
            <a:ext cx="936346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68E05EF-FCBE-6511-A629-295F3F183663}"/>
              </a:ext>
            </a:extLst>
          </p:cNvPr>
          <p:cNvCxnSpPr>
            <a:cxnSpLocks/>
          </p:cNvCxnSpPr>
          <p:nvPr/>
        </p:nvCxnSpPr>
        <p:spPr>
          <a:xfrm>
            <a:off x="4667098" y="3429000"/>
            <a:ext cx="285292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BA14EE2-716C-BD74-B5DD-929357BFC47C}"/>
              </a:ext>
            </a:extLst>
          </p:cNvPr>
          <p:cNvCxnSpPr>
            <a:cxnSpLocks/>
          </p:cNvCxnSpPr>
          <p:nvPr/>
        </p:nvCxnSpPr>
        <p:spPr>
          <a:xfrm>
            <a:off x="4667098" y="4898136"/>
            <a:ext cx="285292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Curved 15">
            <a:extLst>
              <a:ext uri="{FF2B5EF4-FFF2-40B4-BE49-F238E27FC236}">
                <a16:creationId xmlns:a16="http://schemas.microsoft.com/office/drawing/2014/main" id="{E12A8C32-2332-627F-D743-F47D03F09A94}"/>
              </a:ext>
            </a:extLst>
          </p:cNvPr>
          <p:cNvCxnSpPr>
            <a:cxnSpLocks/>
          </p:cNvCxnSpPr>
          <p:nvPr/>
        </p:nvCxnSpPr>
        <p:spPr>
          <a:xfrm rot="5400000">
            <a:off x="5575645" y="2700772"/>
            <a:ext cx="626182" cy="599844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Curved 16">
            <a:extLst>
              <a:ext uri="{FF2B5EF4-FFF2-40B4-BE49-F238E27FC236}">
                <a16:creationId xmlns:a16="http://schemas.microsoft.com/office/drawing/2014/main" id="{64DFC701-462D-3B4F-147B-EDE4C9602019}"/>
              </a:ext>
            </a:extLst>
          </p:cNvPr>
          <p:cNvCxnSpPr>
            <a:cxnSpLocks/>
          </p:cNvCxnSpPr>
          <p:nvPr/>
        </p:nvCxnSpPr>
        <p:spPr>
          <a:xfrm rot="5400000">
            <a:off x="4866068" y="3483499"/>
            <a:ext cx="2118488" cy="526693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6614C79-42E6-E2C8-8E08-8A719DC253E8}"/>
              </a:ext>
            </a:extLst>
          </p:cNvPr>
          <p:cNvCxnSpPr>
            <a:cxnSpLocks/>
          </p:cNvCxnSpPr>
          <p:nvPr/>
        </p:nvCxnSpPr>
        <p:spPr>
          <a:xfrm>
            <a:off x="6188659" y="2694916"/>
            <a:ext cx="46695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545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2535033-3A10-6FEA-8C3A-7A20EF6CD04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7194" y="170762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  <a:latin typeface="Tw Cen MT" panose="020B0602020104020603" pitchFamily="34" charset="77"/>
              </a:rPr>
              <a:t>EXPLORATORY DATA ANALYSI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1DB96FD-A1CD-F558-117E-82502BF10D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1810786"/>
              </p:ext>
            </p:extLst>
          </p:nvPr>
        </p:nvGraphicFramePr>
        <p:xfrm>
          <a:off x="512164" y="1477623"/>
          <a:ext cx="6250253" cy="4841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4C3595B-A24F-94E3-6050-5FAD1AFF91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3037853"/>
              </p:ext>
            </p:extLst>
          </p:nvPr>
        </p:nvGraphicFramePr>
        <p:xfrm>
          <a:off x="5844994" y="1735702"/>
          <a:ext cx="6099847" cy="4184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13909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57A62-BBD8-5D3B-4729-C2992A948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28713"/>
            <a:ext cx="4351338" cy="561975"/>
          </a:xfrm>
        </p:spPr>
        <p:txBody>
          <a:bodyPr>
            <a:normAutofit/>
          </a:bodyPr>
          <a:lstStyle/>
          <a:p>
            <a:pPr algn="ctr"/>
            <a:r>
              <a:rPr lang="en-US" sz="2000">
                <a:solidFill>
                  <a:schemeClr val="tx2"/>
                </a:solidFill>
                <a:latin typeface="+mn-lt"/>
              </a:rPr>
              <a:t>Word cloud for ‘</a:t>
            </a:r>
            <a:r>
              <a:rPr lang="en-US" sz="2000" b="1" err="1">
                <a:solidFill>
                  <a:schemeClr val="tx2"/>
                </a:solidFill>
                <a:latin typeface="+mn-lt"/>
              </a:rPr>
              <a:t>cars+trucks</a:t>
            </a:r>
            <a:r>
              <a:rPr lang="en-US" sz="2000" b="1">
                <a:solidFill>
                  <a:schemeClr val="tx2"/>
                </a:solidFill>
                <a:latin typeface="+mn-lt"/>
              </a:rPr>
              <a:t>’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3BC74DD-D6C2-F76B-D366-51864EF9ED65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3331" y="1825625"/>
            <a:ext cx="4351338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4229DCC-D417-CD7D-C08A-05E452A5BA1E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331" y="1825625"/>
            <a:ext cx="4351338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ABE0C23-E467-43E9-46DF-674134D49A5D}"/>
              </a:ext>
            </a:extLst>
          </p:cNvPr>
          <p:cNvSpPr txBox="1"/>
          <p:nvPr/>
        </p:nvSpPr>
        <p:spPr>
          <a:xfrm>
            <a:off x="7084381" y="1225034"/>
            <a:ext cx="36842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solidFill>
                  <a:schemeClr val="tx2"/>
                </a:solidFill>
              </a:rPr>
              <a:t>Word cloud for ‘</a:t>
            </a:r>
            <a:r>
              <a:rPr lang="en-US" sz="2000" b="1" err="1">
                <a:solidFill>
                  <a:schemeClr val="tx2"/>
                </a:solidFill>
              </a:rPr>
              <a:t>beauty+hlth</a:t>
            </a:r>
            <a:r>
              <a:rPr lang="en-US" sz="2000" b="1">
                <a:solidFill>
                  <a:schemeClr val="tx2"/>
                </a:solidFill>
              </a:rPr>
              <a:t>’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FE7A9507-0316-BEF0-E7CD-3D058E12CC4A}"/>
              </a:ext>
            </a:extLst>
          </p:cNvPr>
          <p:cNvSpPr txBox="1">
            <a:spLocks/>
          </p:cNvSpPr>
          <p:nvPr/>
        </p:nvSpPr>
        <p:spPr>
          <a:xfrm>
            <a:off x="587194" y="17076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EXPLORATORY DATA ANALYSIS</a:t>
            </a:r>
            <a:endParaRPr lang="en-US" sz="3600" dirty="0">
              <a:solidFill>
                <a:schemeClr val="tx2"/>
              </a:solidFill>
              <a:latin typeface="Tw Cen MT" panose="020B06020201040206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6243013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4FD90C-DF26-166D-D666-836BC7171A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0701" y="2375155"/>
            <a:ext cx="3383980" cy="1475013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400">
                <a:solidFill>
                  <a:schemeClr val="tx2"/>
                </a:solidFill>
                <a:latin typeface="Tw Cen MT" panose="020B0602020104020603" pitchFamily="34" charset="77"/>
              </a:rPr>
              <a:t>ANALYSIS</a:t>
            </a:r>
          </a:p>
        </p:txBody>
      </p:sp>
      <p:pic>
        <p:nvPicPr>
          <p:cNvPr id="8" name="Graphic 7" descr="Diagnostic">
            <a:extLst>
              <a:ext uri="{FF2B5EF4-FFF2-40B4-BE49-F238E27FC236}">
                <a16:creationId xmlns:a16="http://schemas.microsoft.com/office/drawing/2014/main" id="{F063189A-058C-AAD0-89DC-AA24CD0A35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08921" y="1961168"/>
            <a:ext cx="3053422" cy="305342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DBF14AB-52F8-0CB0-F96B-3F9DCC5FD8D6}"/>
              </a:ext>
            </a:extLst>
          </p:cNvPr>
          <p:cNvSpPr/>
          <p:nvPr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014904-7C2A-070B-67A5-007D94876250}"/>
              </a:ext>
            </a:extLst>
          </p:cNvPr>
          <p:cNvSpPr/>
          <p:nvPr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059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Cube 78">
            <a:extLst>
              <a:ext uri="{FF2B5EF4-FFF2-40B4-BE49-F238E27FC236}">
                <a16:creationId xmlns:a16="http://schemas.microsoft.com/office/drawing/2014/main" id="{889ED027-F26F-40D0-A453-39B60909C71F}"/>
              </a:ext>
            </a:extLst>
          </p:cNvPr>
          <p:cNvSpPr/>
          <p:nvPr/>
        </p:nvSpPr>
        <p:spPr>
          <a:xfrm flipH="1">
            <a:off x="8091890" y="2586226"/>
            <a:ext cx="1768478" cy="2859424"/>
          </a:xfrm>
          <a:prstGeom prst="cube">
            <a:avLst>
              <a:gd name="adj" fmla="val 20548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0" name="Cube 79">
            <a:extLst>
              <a:ext uri="{FF2B5EF4-FFF2-40B4-BE49-F238E27FC236}">
                <a16:creationId xmlns:a16="http://schemas.microsoft.com/office/drawing/2014/main" id="{0EE44ADB-B016-4D37-BB8C-78BCCBD98CD4}"/>
              </a:ext>
            </a:extLst>
          </p:cNvPr>
          <p:cNvSpPr/>
          <p:nvPr/>
        </p:nvSpPr>
        <p:spPr>
          <a:xfrm flipH="1">
            <a:off x="6643121" y="3023060"/>
            <a:ext cx="1768478" cy="2422591"/>
          </a:xfrm>
          <a:prstGeom prst="cube">
            <a:avLst>
              <a:gd name="adj" fmla="val 20319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Cube 80">
            <a:extLst>
              <a:ext uri="{FF2B5EF4-FFF2-40B4-BE49-F238E27FC236}">
                <a16:creationId xmlns:a16="http://schemas.microsoft.com/office/drawing/2014/main" id="{EA990FBD-5B0B-45BA-9027-1AC7CBFC7038}"/>
              </a:ext>
            </a:extLst>
          </p:cNvPr>
          <p:cNvSpPr/>
          <p:nvPr/>
        </p:nvSpPr>
        <p:spPr>
          <a:xfrm flipH="1">
            <a:off x="5190692" y="3415327"/>
            <a:ext cx="1768478" cy="2030325"/>
          </a:xfrm>
          <a:prstGeom prst="cube">
            <a:avLst>
              <a:gd name="adj" fmla="val 20624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Cube 81">
            <a:extLst>
              <a:ext uri="{FF2B5EF4-FFF2-40B4-BE49-F238E27FC236}">
                <a16:creationId xmlns:a16="http://schemas.microsoft.com/office/drawing/2014/main" id="{244F20B8-9B96-4115-B612-FEC7FD24D209}"/>
              </a:ext>
            </a:extLst>
          </p:cNvPr>
          <p:cNvSpPr/>
          <p:nvPr/>
        </p:nvSpPr>
        <p:spPr>
          <a:xfrm flipH="1">
            <a:off x="3741356" y="3838261"/>
            <a:ext cx="1768478" cy="1607391"/>
          </a:xfrm>
          <a:prstGeom prst="cube">
            <a:avLst>
              <a:gd name="adj" fmla="val 21554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3" name="Cube 82">
            <a:extLst>
              <a:ext uri="{FF2B5EF4-FFF2-40B4-BE49-F238E27FC236}">
                <a16:creationId xmlns:a16="http://schemas.microsoft.com/office/drawing/2014/main" id="{86D43E26-7320-48BC-AA67-1EAEB81EB369}"/>
              </a:ext>
            </a:extLst>
          </p:cNvPr>
          <p:cNvSpPr/>
          <p:nvPr/>
        </p:nvSpPr>
        <p:spPr>
          <a:xfrm flipH="1">
            <a:off x="2299652" y="4316981"/>
            <a:ext cx="1710770" cy="1163971"/>
          </a:xfrm>
          <a:prstGeom prst="cube">
            <a:avLst>
              <a:gd name="adj" fmla="val 25554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4" name="Cube 83">
            <a:extLst>
              <a:ext uri="{FF2B5EF4-FFF2-40B4-BE49-F238E27FC236}">
                <a16:creationId xmlns:a16="http://schemas.microsoft.com/office/drawing/2014/main" id="{4FE44D9A-189F-4AC7-8767-B2409C42A584}"/>
              </a:ext>
            </a:extLst>
          </p:cNvPr>
          <p:cNvSpPr/>
          <p:nvPr/>
        </p:nvSpPr>
        <p:spPr>
          <a:xfrm flipH="1">
            <a:off x="2307998" y="3913804"/>
            <a:ext cx="1768478" cy="705936"/>
          </a:xfrm>
          <a:prstGeom prst="cube">
            <a:avLst>
              <a:gd name="adj" fmla="val 48767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5" name="Cube 84">
            <a:extLst>
              <a:ext uri="{FF2B5EF4-FFF2-40B4-BE49-F238E27FC236}">
                <a16:creationId xmlns:a16="http://schemas.microsoft.com/office/drawing/2014/main" id="{3119B009-E3AD-4F53-8803-070E49A447CE}"/>
              </a:ext>
            </a:extLst>
          </p:cNvPr>
          <p:cNvSpPr/>
          <p:nvPr/>
        </p:nvSpPr>
        <p:spPr>
          <a:xfrm flipH="1">
            <a:off x="3741356" y="3490869"/>
            <a:ext cx="1768478" cy="705936"/>
          </a:xfrm>
          <a:prstGeom prst="cube">
            <a:avLst>
              <a:gd name="adj" fmla="val 48767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Cube 85">
            <a:extLst>
              <a:ext uri="{FF2B5EF4-FFF2-40B4-BE49-F238E27FC236}">
                <a16:creationId xmlns:a16="http://schemas.microsoft.com/office/drawing/2014/main" id="{B02E8C1E-940D-4AF6-AE45-7D57206FBB9C}"/>
              </a:ext>
            </a:extLst>
          </p:cNvPr>
          <p:cNvSpPr/>
          <p:nvPr/>
        </p:nvSpPr>
        <p:spPr>
          <a:xfrm flipH="1">
            <a:off x="5190693" y="3071519"/>
            <a:ext cx="1768478" cy="705936"/>
          </a:xfrm>
          <a:prstGeom prst="cube">
            <a:avLst>
              <a:gd name="adj" fmla="val 48767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Cube 86">
            <a:extLst>
              <a:ext uri="{FF2B5EF4-FFF2-40B4-BE49-F238E27FC236}">
                <a16:creationId xmlns:a16="http://schemas.microsoft.com/office/drawing/2014/main" id="{4F6117E5-ED57-4939-A2A1-E43F552E4C0B}"/>
              </a:ext>
            </a:extLst>
          </p:cNvPr>
          <p:cNvSpPr/>
          <p:nvPr/>
        </p:nvSpPr>
        <p:spPr>
          <a:xfrm flipH="1">
            <a:off x="6640031" y="2648585"/>
            <a:ext cx="1768478" cy="705936"/>
          </a:xfrm>
          <a:prstGeom prst="cube">
            <a:avLst>
              <a:gd name="adj" fmla="val 48767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8" name="Cube 87">
            <a:extLst>
              <a:ext uri="{FF2B5EF4-FFF2-40B4-BE49-F238E27FC236}">
                <a16:creationId xmlns:a16="http://schemas.microsoft.com/office/drawing/2014/main" id="{7CDE7DD4-C4A3-4740-BA09-0F4D4527BD16}"/>
              </a:ext>
            </a:extLst>
          </p:cNvPr>
          <p:cNvSpPr/>
          <p:nvPr/>
        </p:nvSpPr>
        <p:spPr>
          <a:xfrm flipH="1">
            <a:off x="8089369" y="2225650"/>
            <a:ext cx="1768478" cy="705936"/>
          </a:xfrm>
          <a:prstGeom prst="cube">
            <a:avLst>
              <a:gd name="adj" fmla="val 48767"/>
            </a:avLst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26A09BA-0EC9-4402-9086-CE385E992621}"/>
              </a:ext>
            </a:extLst>
          </p:cNvPr>
          <p:cNvGrpSpPr/>
          <p:nvPr/>
        </p:nvGrpSpPr>
        <p:grpSpPr>
          <a:xfrm>
            <a:off x="8095475" y="956373"/>
            <a:ext cx="1576465" cy="1567307"/>
            <a:chOff x="5138738" y="-608163"/>
            <a:chExt cx="4786312" cy="5039851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52BBA748-BE54-4390-A912-B867D56AEC0D}"/>
                </a:ext>
              </a:extLst>
            </p:cNvPr>
            <p:cNvSpPr/>
            <p:nvPr/>
          </p:nvSpPr>
          <p:spPr>
            <a:xfrm>
              <a:off x="5793224" y="3973382"/>
              <a:ext cx="3766861" cy="380050"/>
            </a:xfrm>
            <a:prstGeom prst="ellipse">
              <a:avLst/>
            </a:prstGeom>
            <a:solidFill>
              <a:srgbClr val="000000">
                <a:alpha val="3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4BA9E886-0931-43BE-A44A-B5C618A7F0DD}"/>
                </a:ext>
              </a:extLst>
            </p:cNvPr>
            <p:cNvGrpSpPr/>
            <p:nvPr/>
          </p:nvGrpSpPr>
          <p:grpSpPr>
            <a:xfrm>
              <a:off x="5138738" y="-608163"/>
              <a:ext cx="4786312" cy="5039851"/>
              <a:chOff x="5995988" y="2712903"/>
              <a:chExt cx="2457450" cy="2587625"/>
            </a:xfrm>
          </p:grpSpPr>
          <p:sp>
            <p:nvSpPr>
              <p:cNvPr id="108" name="Freeform 6">
                <a:extLst>
                  <a:ext uri="{FF2B5EF4-FFF2-40B4-BE49-F238E27FC236}">
                    <a16:creationId xmlns:a16="http://schemas.microsoft.com/office/drawing/2014/main" id="{0FE312EA-A7CC-40BC-B279-483EB91B0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5988" y="2712903"/>
                <a:ext cx="2457450" cy="2587625"/>
              </a:xfrm>
              <a:custGeom>
                <a:avLst/>
                <a:gdLst>
                  <a:gd name="T0" fmla="*/ 707 w 771"/>
                  <a:gd name="T1" fmla="*/ 219 h 812"/>
                  <a:gd name="T2" fmla="*/ 760 w 771"/>
                  <a:gd name="T3" fmla="*/ 369 h 812"/>
                  <a:gd name="T4" fmla="*/ 685 w 771"/>
                  <a:gd name="T5" fmla="*/ 634 h 812"/>
                  <a:gd name="T6" fmla="*/ 197 w 771"/>
                  <a:gd name="T7" fmla="*/ 707 h 812"/>
                  <a:gd name="T8" fmla="*/ 97 w 771"/>
                  <a:gd name="T9" fmla="*/ 220 h 812"/>
                  <a:gd name="T10" fmla="*/ 594 w 771"/>
                  <a:gd name="T11" fmla="*/ 106 h 812"/>
                  <a:gd name="T12" fmla="*/ 552 w 771"/>
                  <a:gd name="T13" fmla="*/ 147 h 812"/>
                  <a:gd name="T14" fmla="*/ 509 w 771"/>
                  <a:gd name="T15" fmla="*/ 128 h 812"/>
                  <a:gd name="T16" fmla="*/ 454 w 771"/>
                  <a:gd name="T17" fmla="*/ 113 h 812"/>
                  <a:gd name="T18" fmla="*/ 372 w 771"/>
                  <a:gd name="T19" fmla="*/ 110 h 812"/>
                  <a:gd name="T20" fmla="*/ 241 w 771"/>
                  <a:gd name="T21" fmla="*/ 155 h 812"/>
                  <a:gd name="T22" fmla="*/ 147 w 771"/>
                  <a:gd name="T23" fmla="*/ 249 h 812"/>
                  <a:gd name="T24" fmla="*/ 115 w 771"/>
                  <a:gd name="T25" fmla="*/ 317 h 812"/>
                  <a:gd name="T26" fmla="*/ 103 w 771"/>
                  <a:gd name="T27" fmla="*/ 366 h 812"/>
                  <a:gd name="T28" fmla="*/ 102 w 771"/>
                  <a:gd name="T29" fmla="*/ 450 h 812"/>
                  <a:gd name="T30" fmla="*/ 124 w 771"/>
                  <a:gd name="T31" fmla="*/ 528 h 812"/>
                  <a:gd name="T32" fmla="*/ 209 w 771"/>
                  <a:gd name="T33" fmla="*/ 643 h 812"/>
                  <a:gd name="T34" fmla="*/ 295 w 771"/>
                  <a:gd name="T35" fmla="*/ 694 h 812"/>
                  <a:gd name="T36" fmla="*/ 357 w 771"/>
                  <a:gd name="T37" fmla="*/ 710 h 812"/>
                  <a:gd name="T38" fmla="*/ 439 w 771"/>
                  <a:gd name="T39" fmla="*/ 711 h 812"/>
                  <a:gd name="T40" fmla="*/ 512 w 771"/>
                  <a:gd name="T41" fmla="*/ 693 h 812"/>
                  <a:gd name="T42" fmla="*/ 585 w 771"/>
                  <a:gd name="T43" fmla="*/ 652 h 812"/>
                  <a:gd name="T44" fmla="*/ 644 w 771"/>
                  <a:gd name="T45" fmla="*/ 592 h 812"/>
                  <a:gd name="T46" fmla="*/ 677 w 771"/>
                  <a:gd name="T47" fmla="*/ 536 h 812"/>
                  <a:gd name="T48" fmla="*/ 696 w 771"/>
                  <a:gd name="T49" fmla="*/ 482 h 812"/>
                  <a:gd name="T50" fmla="*/ 704 w 771"/>
                  <a:gd name="T51" fmla="*/ 432 h 812"/>
                  <a:gd name="T52" fmla="*/ 702 w 771"/>
                  <a:gd name="T53" fmla="*/ 374 h 812"/>
                  <a:gd name="T54" fmla="*/ 695 w 771"/>
                  <a:gd name="T55" fmla="*/ 334 h 812"/>
                  <a:gd name="T56" fmla="*/ 666 w 771"/>
                  <a:gd name="T57" fmla="*/ 264 h 812"/>
                  <a:gd name="T58" fmla="*/ 667 w 771"/>
                  <a:gd name="T59" fmla="*/ 258 h 812"/>
                  <a:gd name="T60" fmla="*/ 703 w 771"/>
                  <a:gd name="T61" fmla="*/ 222 h 812"/>
                  <a:gd name="T62" fmla="*/ 707 w 771"/>
                  <a:gd name="T63" fmla="*/ 219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71" h="812">
                    <a:moveTo>
                      <a:pt x="707" y="219"/>
                    </a:moveTo>
                    <a:cubicBezTo>
                      <a:pt x="736" y="265"/>
                      <a:pt x="754" y="315"/>
                      <a:pt x="760" y="369"/>
                    </a:cubicBezTo>
                    <a:cubicBezTo>
                      <a:pt x="771" y="467"/>
                      <a:pt x="746" y="557"/>
                      <a:pt x="685" y="634"/>
                    </a:cubicBezTo>
                    <a:cubicBezTo>
                      <a:pt x="561" y="789"/>
                      <a:pt x="347" y="812"/>
                      <a:pt x="197" y="707"/>
                    </a:cubicBezTo>
                    <a:cubicBezTo>
                      <a:pt x="31" y="591"/>
                      <a:pt x="0" y="374"/>
                      <a:pt x="97" y="220"/>
                    </a:cubicBezTo>
                    <a:cubicBezTo>
                      <a:pt x="203" y="52"/>
                      <a:pt x="424" y="0"/>
                      <a:pt x="594" y="106"/>
                    </a:cubicBezTo>
                    <a:cubicBezTo>
                      <a:pt x="580" y="120"/>
                      <a:pt x="566" y="134"/>
                      <a:pt x="552" y="147"/>
                    </a:cubicBezTo>
                    <a:cubicBezTo>
                      <a:pt x="538" y="141"/>
                      <a:pt x="523" y="134"/>
                      <a:pt x="509" y="128"/>
                    </a:cubicBezTo>
                    <a:cubicBezTo>
                      <a:pt x="491" y="121"/>
                      <a:pt x="473" y="116"/>
                      <a:pt x="454" y="113"/>
                    </a:cubicBezTo>
                    <a:cubicBezTo>
                      <a:pt x="427" y="108"/>
                      <a:pt x="399" y="107"/>
                      <a:pt x="372" y="110"/>
                    </a:cubicBezTo>
                    <a:cubicBezTo>
                      <a:pt x="325" y="115"/>
                      <a:pt x="281" y="130"/>
                      <a:pt x="241" y="155"/>
                    </a:cubicBezTo>
                    <a:cubicBezTo>
                      <a:pt x="203" y="179"/>
                      <a:pt x="171" y="211"/>
                      <a:pt x="147" y="249"/>
                    </a:cubicBezTo>
                    <a:cubicBezTo>
                      <a:pt x="134" y="270"/>
                      <a:pt x="123" y="293"/>
                      <a:pt x="115" y="317"/>
                    </a:cubicBezTo>
                    <a:cubicBezTo>
                      <a:pt x="110" y="333"/>
                      <a:pt x="106" y="350"/>
                      <a:pt x="103" y="366"/>
                    </a:cubicBezTo>
                    <a:cubicBezTo>
                      <a:pt x="99" y="394"/>
                      <a:pt x="99" y="422"/>
                      <a:pt x="102" y="450"/>
                    </a:cubicBezTo>
                    <a:cubicBezTo>
                      <a:pt x="105" y="477"/>
                      <a:pt x="113" y="503"/>
                      <a:pt x="124" y="528"/>
                    </a:cubicBezTo>
                    <a:cubicBezTo>
                      <a:pt x="143" y="574"/>
                      <a:pt x="171" y="612"/>
                      <a:pt x="209" y="643"/>
                    </a:cubicBezTo>
                    <a:cubicBezTo>
                      <a:pt x="235" y="665"/>
                      <a:pt x="263" y="682"/>
                      <a:pt x="295" y="694"/>
                    </a:cubicBezTo>
                    <a:cubicBezTo>
                      <a:pt x="315" y="701"/>
                      <a:pt x="336" y="707"/>
                      <a:pt x="357" y="710"/>
                    </a:cubicBezTo>
                    <a:cubicBezTo>
                      <a:pt x="384" y="714"/>
                      <a:pt x="412" y="715"/>
                      <a:pt x="439" y="711"/>
                    </a:cubicBezTo>
                    <a:cubicBezTo>
                      <a:pt x="464" y="708"/>
                      <a:pt x="488" y="702"/>
                      <a:pt x="512" y="693"/>
                    </a:cubicBezTo>
                    <a:cubicBezTo>
                      <a:pt x="538" y="683"/>
                      <a:pt x="563" y="669"/>
                      <a:pt x="585" y="652"/>
                    </a:cubicBezTo>
                    <a:cubicBezTo>
                      <a:pt x="607" y="635"/>
                      <a:pt x="627" y="615"/>
                      <a:pt x="644" y="592"/>
                    </a:cubicBezTo>
                    <a:cubicBezTo>
                      <a:pt x="657" y="575"/>
                      <a:pt x="668" y="556"/>
                      <a:pt x="677" y="536"/>
                    </a:cubicBezTo>
                    <a:cubicBezTo>
                      <a:pt x="686" y="519"/>
                      <a:pt x="692" y="501"/>
                      <a:pt x="696" y="482"/>
                    </a:cubicBezTo>
                    <a:cubicBezTo>
                      <a:pt x="700" y="465"/>
                      <a:pt x="703" y="449"/>
                      <a:pt x="704" y="432"/>
                    </a:cubicBezTo>
                    <a:cubicBezTo>
                      <a:pt x="704" y="413"/>
                      <a:pt x="704" y="393"/>
                      <a:pt x="702" y="374"/>
                    </a:cubicBezTo>
                    <a:cubicBezTo>
                      <a:pt x="701" y="361"/>
                      <a:pt x="698" y="347"/>
                      <a:pt x="695" y="334"/>
                    </a:cubicBezTo>
                    <a:cubicBezTo>
                      <a:pt x="689" y="310"/>
                      <a:pt x="679" y="286"/>
                      <a:pt x="666" y="264"/>
                    </a:cubicBezTo>
                    <a:cubicBezTo>
                      <a:pt x="665" y="262"/>
                      <a:pt x="665" y="260"/>
                      <a:pt x="667" y="258"/>
                    </a:cubicBezTo>
                    <a:cubicBezTo>
                      <a:pt x="680" y="246"/>
                      <a:pt x="691" y="234"/>
                      <a:pt x="703" y="222"/>
                    </a:cubicBezTo>
                    <a:cubicBezTo>
                      <a:pt x="704" y="221"/>
                      <a:pt x="705" y="220"/>
                      <a:pt x="707" y="219"/>
                    </a:cubicBezTo>
                    <a:close/>
                  </a:path>
                </a:pathLst>
              </a:custGeom>
              <a:solidFill>
                <a:srgbClr val="282F3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kern="0">
                  <a:solidFill>
                    <a:srgbClr val="282F39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9" name="Freeform 7">
                <a:extLst>
                  <a:ext uri="{FF2B5EF4-FFF2-40B4-BE49-F238E27FC236}">
                    <a16:creationId xmlns:a16="http://schemas.microsoft.com/office/drawing/2014/main" id="{26C7F4D9-D12A-42AB-8FDB-25CB96048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3270116"/>
                <a:ext cx="1450975" cy="1435100"/>
              </a:xfrm>
              <a:custGeom>
                <a:avLst/>
                <a:gdLst>
                  <a:gd name="T0" fmla="*/ 350 w 455"/>
                  <a:gd name="T1" fmla="*/ 54 h 450"/>
                  <a:gd name="T2" fmla="*/ 311 w 455"/>
                  <a:gd name="T3" fmla="*/ 93 h 450"/>
                  <a:gd name="T4" fmla="*/ 305 w 455"/>
                  <a:gd name="T5" fmla="*/ 94 h 450"/>
                  <a:gd name="T6" fmla="*/ 262 w 455"/>
                  <a:gd name="T7" fmla="*/ 81 h 450"/>
                  <a:gd name="T8" fmla="*/ 210 w 455"/>
                  <a:gd name="T9" fmla="*/ 82 h 450"/>
                  <a:gd name="T10" fmla="*/ 148 w 455"/>
                  <a:gd name="T11" fmla="*/ 109 h 450"/>
                  <a:gd name="T12" fmla="*/ 103 w 455"/>
                  <a:gd name="T13" fmla="*/ 160 h 450"/>
                  <a:gd name="T14" fmla="*/ 84 w 455"/>
                  <a:gd name="T15" fmla="*/ 216 h 450"/>
                  <a:gd name="T16" fmla="*/ 90 w 455"/>
                  <a:gd name="T17" fmla="*/ 283 h 450"/>
                  <a:gd name="T18" fmla="*/ 154 w 455"/>
                  <a:gd name="T19" fmla="*/ 367 h 450"/>
                  <a:gd name="T20" fmla="*/ 225 w 455"/>
                  <a:gd name="T21" fmla="*/ 392 h 450"/>
                  <a:gd name="T22" fmla="*/ 302 w 455"/>
                  <a:gd name="T23" fmla="*/ 379 h 450"/>
                  <a:gd name="T24" fmla="*/ 364 w 455"/>
                  <a:gd name="T25" fmla="*/ 330 h 450"/>
                  <a:gd name="T26" fmla="*/ 391 w 455"/>
                  <a:gd name="T27" fmla="*/ 273 h 450"/>
                  <a:gd name="T28" fmla="*/ 395 w 455"/>
                  <a:gd name="T29" fmla="*/ 223 h 450"/>
                  <a:gd name="T30" fmla="*/ 380 w 455"/>
                  <a:gd name="T31" fmla="*/ 167 h 450"/>
                  <a:gd name="T32" fmla="*/ 422 w 455"/>
                  <a:gd name="T33" fmla="*/ 125 h 450"/>
                  <a:gd name="T34" fmla="*/ 453 w 455"/>
                  <a:gd name="T35" fmla="*/ 242 h 450"/>
                  <a:gd name="T36" fmla="*/ 418 w 455"/>
                  <a:gd name="T37" fmla="*/ 354 h 450"/>
                  <a:gd name="T38" fmla="*/ 235 w 455"/>
                  <a:gd name="T39" fmla="*/ 450 h 450"/>
                  <a:gd name="T40" fmla="*/ 85 w 455"/>
                  <a:gd name="T41" fmla="*/ 385 h 450"/>
                  <a:gd name="T42" fmla="*/ 95 w 455"/>
                  <a:gd name="T43" fmla="*/ 78 h 450"/>
                  <a:gd name="T44" fmla="*/ 350 w 455"/>
                  <a:gd name="T45" fmla="*/ 54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5" h="450">
                    <a:moveTo>
                      <a:pt x="350" y="54"/>
                    </a:moveTo>
                    <a:cubicBezTo>
                      <a:pt x="337" y="67"/>
                      <a:pt x="324" y="80"/>
                      <a:pt x="311" y="93"/>
                    </a:cubicBezTo>
                    <a:cubicBezTo>
                      <a:pt x="310" y="94"/>
                      <a:pt x="307" y="95"/>
                      <a:pt x="305" y="94"/>
                    </a:cubicBezTo>
                    <a:cubicBezTo>
                      <a:pt x="292" y="87"/>
                      <a:pt x="277" y="83"/>
                      <a:pt x="262" y="81"/>
                    </a:cubicBezTo>
                    <a:cubicBezTo>
                      <a:pt x="244" y="79"/>
                      <a:pt x="227" y="79"/>
                      <a:pt x="210" y="82"/>
                    </a:cubicBezTo>
                    <a:cubicBezTo>
                      <a:pt x="187" y="87"/>
                      <a:pt x="166" y="96"/>
                      <a:pt x="148" y="109"/>
                    </a:cubicBezTo>
                    <a:cubicBezTo>
                      <a:pt x="129" y="123"/>
                      <a:pt x="114" y="140"/>
                      <a:pt x="103" y="160"/>
                    </a:cubicBezTo>
                    <a:cubicBezTo>
                      <a:pt x="93" y="178"/>
                      <a:pt x="87" y="196"/>
                      <a:pt x="84" y="216"/>
                    </a:cubicBezTo>
                    <a:cubicBezTo>
                      <a:pt x="81" y="239"/>
                      <a:pt x="83" y="261"/>
                      <a:pt x="90" y="283"/>
                    </a:cubicBezTo>
                    <a:cubicBezTo>
                      <a:pt x="101" y="319"/>
                      <a:pt x="123" y="347"/>
                      <a:pt x="154" y="367"/>
                    </a:cubicBezTo>
                    <a:cubicBezTo>
                      <a:pt x="176" y="381"/>
                      <a:pt x="199" y="389"/>
                      <a:pt x="225" y="392"/>
                    </a:cubicBezTo>
                    <a:cubicBezTo>
                      <a:pt x="252" y="394"/>
                      <a:pt x="277" y="390"/>
                      <a:pt x="302" y="379"/>
                    </a:cubicBezTo>
                    <a:cubicBezTo>
                      <a:pt x="327" y="368"/>
                      <a:pt x="348" y="352"/>
                      <a:pt x="364" y="330"/>
                    </a:cubicBezTo>
                    <a:cubicBezTo>
                      <a:pt x="377" y="313"/>
                      <a:pt x="386" y="294"/>
                      <a:pt x="391" y="273"/>
                    </a:cubicBezTo>
                    <a:cubicBezTo>
                      <a:pt x="395" y="256"/>
                      <a:pt x="397" y="240"/>
                      <a:pt x="395" y="223"/>
                    </a:cubicBezTo>
                    <a:cubicBezTo>
                      <a:pt x="394" y="204"/>
                      <a:pt x="389" y="185"/>
                      <a:pt x="380" y="167"/>
                    </a:cubicBezTo>
                    <a:cubicBezTo>
                      <a:pt x="394" y="153"/>
                      <a:pt x="408" y="139"/>
                      <a:pt x="422" y="125"/>
                    </a:cubicBezTo>
                    <a:cubicBezTo>
                      <a:pt x="444" y="161"/>
                      <a:pt x="455" y="200"/>
                      <a:pt x="453" y="242"/>
                    </a:cubicBezTo>
                    <a:cubicBezTo>
                      <a:pt x="452" y="283"/>
                      <a:pt x="441" y="320"/>
                      <a:pt x="418" y="354"/>
                    </a:cubicBezTo>
                    <a:cubicBezTo>
                      <a:pt x="374" y="418"/>
                      <a:pt x="312" y="450"/>
                      <a:pt x="235" y="450"/>
                    </a:cubicBezTo>
                    <a:cubicBezTo>
                      <a:pt x="176" y="450"/>
                      <a:pt x="125" y="427"/>
                      <a:pt x="85" y="385"/>
                    </a:cubicBezTo>
                    <a:cubicBezTo>
                      <a:pt x="0" y="295"/>
                      <a:pt x="6" y="160"/>
                      <a:pt x="95" y="78"/>
                    </a:cubicBezTo>
                    <a:cubicBezTo>
                      <a:pt x="179" y="0"/>
                      <a:pt x="293" y="14"/>
                      <a:pt x="350" y="54"/>
                    </a:cubicBezTo>
                    <a:close/>
                  </a:path>
                </a:pathLst>
              </a:custGeom>
              <a:solidFill>
                <a:srgbClr val="282F3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kern="0">
                  <a:solidFill>
                    <a:srgbClr val="282F39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0" name="Freeform 8">
                <a:extLst>
                  <a:ext uri="{FF2B5EF4-FFF2-40B4-BE49-F238E27FC236}">
                    <a16:creationId xmlns:a16="http://schemas.microsoft.com/office/drawing/2014/main" id="{97BC4BC3-781E-4667-8872-0E49CD15B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0563" y="2874828"/>
                <a:ext cx="1381125" cy="1384300"/>
              </a:xfrm>
              <a:custGeom>
                <a:avLst/>
                <a:gdLst>
                  <a:gd name="T0" fmla="*/ 363 w 433"/>
                  <a:gd name="T1" fmla="*/ 0 h 434"/>
                  <a:gd name="T2" fmla="*/ 363 w 433"/>
                  <a:gd name="T3" fmla="*/ 71 h 434"/>
                  <a:gd name="T4" fmla="*/ 432 w 433"/>
                  <a:gd name="T5" fmla="*/ 71 h 434"/>
                  <a:gd name="T6" fmla="*/ 433 w 433"/>
                  <a:gd name="T7" fmla="*/ 73 h 434"/>
                  <a:gd name="T8" fmla="*/ 408 w 433"/>
                  <a:gd name="T9" fmla="*/ 98 h 434"/>
                  <a:gd name="T10" fmla="*/ 303 w 433"/>
                  <a:gd name="T11" fmla="*/ 203 h 434"/>
                  <a:gd name="T12" fmla="*/ 292 w 433"/>
                  <a:gd name="T13" fmla="*/ 207 h 434"/>
                  <a:gd name="T14" fmla="*/ 262 w 433"/>
                  <a:gd name="T15" fmla="*/ 208 h 434"/>
                  <a:gd name="T16" fmla="*/ 255 w 433"/>
                  <a:gd name="T17" fmla="*/ 210 h 434"/>
                  <a:gd name="T18" fmla="*/ 176 w 433"/>
                  <a:gd name="T19" fmla="*/ 289 h 434"/>
                  <a:gd name="T20" fmla="*/ 141 w 433"/>
                  <a:gd name="T21" fmla="*/ 325 h 434"/>
                  <a:gd name="T22" fmla="*/ 140 w 433"/>
                  <a:gd name="T23" fmla="*/ 330 h 434"/>
                  <a:gd name="T24" fmla="*/ 146 w 433"/>
                  <a:gd name="T25" fmla="*/ 354 h 434"/>
                  <a:gd name="T26" fmla="*/ 121 w 433"/>
                  <a:gd name="T27" fmla="*/ 415 h 434"/>
                  <a:gd name="T28" fmla="*/ 67 w 433"/>
                  <a:gd name="T29" fmla="*/ 432 h 434"/>
                  <a:gd name="T30" fmla="*/ 12 w 433"/>
                  <a:gd name="T31" fmla="*/ 397 h 434"/>
                  <a:gd name="T32" fmla="*/ 4 w 433"/>
                  <a:gd name="T33" fmla="*/ 342 h 434"/>
                  <a:gd name="T34" fmla="*/ 46 w 433"/>
                  <a:gd name="T35" fmla="*/ 294 h 434"/>
                  <a:gd name="T36" fmla="*/ 105 w 433"/>
                  <a:gd name="T37" fmla="*/ 295 h 434"/>
                  <a:gd name="T38" fmla="*/ 110 w 433"/>
                  <a:gd name="T39" fmla="*/ 293 h 434"/>
                  <a:gd name="T40" fmla="*/ 191 w 433"/>
                  <a:gd name="T41" fmla="*/ 213 h 434"/>
                  <a:gd name="T42" fmla="*/ 223 w 433"/>
                  <a:gd name="T43" fmla="*/ 181 h 434"/>
                  <a:gd name="T44" fmla="*/ 227 w 433"/>
                  <a:gd name="T45" fmla="*/ 171 h 434"/>
                  <a:gd name="T46" fmla="*/ 227 w 433"/>
                  <a:gd name="T47" fmla="*/ 143 h 434"/>
                  <a:gd name="T48" fmla="*/ 231 w 433"/>
                  <a:gd name="T49" fmla="*/ 131 h 434"/>
                  <a:gd name="T50" fmla="*/ 360 w 433"/>
                  <a:gd name="T51" fmla="*/ 3 h 434"/>
                  <a:gd name="T52" fmla="*/ 363 w 433"/>
                  <a:gd name="T53" fmla="*/ 0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3" h="434">
                    <a:moveTo>
                      <a:pt x="363" y="0"/>
                    </a:moveTo>
                    <a:cubicBezTo>
                      <a:pt x="363" y="24"/>
                      <a:pt x="363" y="47"/>
                      <a:pt x="363" y="71"/>
                    </a:cubicBezTo>
                    <a:cubicBezTo>
                      <a:pt x="386" y="71"/>
                      <a:pt x="409" y="71"/>
                      <a:pt x="432" y="71"/>
                    </a:cubicBezTo>
                    <a:cubicBezTo>
                      <a:pt x="432" y="72"/>
                      <a:pt x="432" y="73"/>
                      <a:pt x="433" y="73"/>
                    </a:cubicBezTo>
                    <a:cubicBezTo>
                      <a:pt x="424" y="81"/>
                      <a:pt x="416" y="90"/>
                      <a:pt x="408" y="98"/>
                    </a:cubicBezTo>
                    <a:cubicBezTo>
                      <a:pt x="373" y="133"/>
                      <a:pt x="338" y="168"/>
                      <a:pt x="303" y="203"/>
                    </a:cubicBezTo>
                    <a:cubicBezTo>
                      <a:pt x="300" y="206"/>
                      <a:pt x="297" y="208"/>
                      <a:pt x="292" y="207"/>
                    </a:cubicBezTo>
                    <a:cubicBezTo>
                      <a:pt x="282" y="207"/>
                      <a:pt x="272" y="207"/>
                      <a:pt x="262" y="208"/>
                    </a:cubicBezTo>
                    <a:cubicBezTo>
                      <a:pt x="260" y="208"/>
                      <a:pt x="256" y="209"/>
                      <a:pt x="255" y="210"/>
                    </a:cubicBezTo>
                    <a:cubicBezTo>
                      <a:pt x="228" y="237"/>
                      <a:pt x="202" y="263"/>
                      <a:pt x="176" y="289"/>
                    </a:cubicBezTo>
                    <a:cubicBezTo>
                      <a:pt x="164" y="301"/>
                      <a:pt x="152" y="313"/>
                      <a:pt x="141" y="325"/>
                    </a:cubicBezTo>
                    <a:cubicBezTo>
                      <a:pt x="140" y="326"/>
                      <a:pt x="139" y="328"/>
                      <a:pt x="140" y="330"/>
                    </a:cubicBezTo>
                    <a:cubicBezTo>
                      <a:pt x="143" y="338"/>
                      <a:pt x="145" y="346"/>
                      <a:pt x="146" y="354"/>
                    </a:cubicBezTo>
                    <a:cubicBezTo>
                      <a:pt x="148" y="379"/>
                      <a:pt x="139" y="399"/>
                      <a:pt x="121" y="415"/>
                    </a:cubicBezTo>
                    <a:cubicBezTo>
                      <a:pt x="105" y="428"/>
                      <a:pt x="87" y="434"/>
                      <a:pt x="67" y="432"/>
                    </a:cubicBezTo>
                    <a:cubicBezTo>
                      <a:pt x="43" y="429"/>
                      <a:pt x="25" y="417"/>
                      <a:pt x="12" y="397"/>
                    </a:cubicBezTo>
                    <a:cubicBezTo>
                      <a:pt x="2" y="380"/>
                      <a:pt x="0" y="361"/>
                      <a:pt x="4" y="342"/>
                    </a:cubicBezTo>
                    <a:cubicBezTo>
                      <a:pt x="10" y="320"/>
                      <a:pt x="24" y="303"/>
                      <a:pt x="46" y="294"/>
                    </a:cubicBezTo>
                    <a:cubicBezTo>
                      <a:pt x="66" y="285"/>
                      <a:pt x="86" y="286"/>
                      <a:pt x="105" y="295"/>
                    </a:cubicBezTo>
                    <a:cubicBezTo>
                      <a:pt x="107" y="295"/>
                      <a:pt x="109" y="294"/>
                      <a:pt x="110" y="293"/>
                    </a:cubicBezTo>
                    <a:cubicBezTo>
                      <a:pt x="137" y="267"/>
                      <a:pt x="164" y="240"/>
                      <a:pt x="191" y="213"/>
                    </a:cubicBezTo>
                    <a:cubicBezTo>
                      <a:pt x="202" y="202"/>
                      <a:pt x="212" y="191"/>
                      <a:pt x="223" y="181"/>
                    </a:cubicBezTo>
                    <a:cubicBezTo>
                      <a:pt x="226" y="178"/>
                      <a:pt x="227" y="175"/>
                      <a:pt x="227" y="171"/>
                    </a:cubicBezTo>
                    <a:cubicBezTo>
                      <a:pt x="227" y="162"/>
                      <a:pt x="227" y="152"/>
                      <a:pt x="227" y="143"/>
                    </a:cubicBezTo>
                    <a:cubicBezTo>
                      <a:pt x="226" y="138"/>
                      <a:pt x="228" y="135"/>
                      <a:pt x="231" y="131"/>
                    </a:cubicBezTo>
                    <a:cubicBezTo>
                      <a:pt x="274" y="88"/>
                      <a:pt x="317" y="45"/>
                      <a:pt x="360" y="3"/>
                    </a:cubicBezTo>
                    <a:cubicBezTo>
                      <a:pt x="361" y="2"/>
                      <a:pt x="362" y="1"/>
                      <a:pt x="363" y="0"/>
                    </a:cubicBezTo>
                    <a:close/>
                  </a:path>
                </a:pathLst>
              </a:custGeom>
              <a:solidFill>
                <a:srgbClr val="CB1B4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kern="0">
                  <a:solidFill>
                    <a:srgbClr val="282F39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F11D7F8F-F972-436F-B46B-E8A5A1FDF08D}"/>
              </a:ext>
            </a:extLst>
          </p:cNvPr>
          <p:cNvSpPr txBox="1"/>
          <p:nvPr/>
        </p:nvSpPr>
        <p:spPr>
          <a:xfrm>
            <a:off x="4110359" y="4313362"/>
            <a:ext cx="1236446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schemeClr val="tx2"/>
                </a:solidFill>
                <a:latin typeface="Tw Cen MT" panose="020B0602020104020603" pitchFamily="34" charset="77"/>
                <a:ea typeface="Noto Sans"/>
                <a:cs typeface="Segoe UI"/>
              </a:rPr>
              <a:t>Random Forest</a:t>
            </a:r>
            <a:endParaRPr lang="en-US" sz="1600" b="1" kern="0" dirty="0">
              <a:solidFill>
                <a:schemeClr val="tx2"/>
              </a:solidFill>
              <a:latin typeface="Tw Cen MT" panose="020B0602020104020603" pitchFamily="34" charset="77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B19CD76B-DB50-4CBC-8232-9566B5876B74}"/>
              </a:ext>
            </a:extLst>
          </p:cNvPr>
          <p:cNvSpPr txBox="1"/>
          <p:nvPr/>
        </p:nvSpPr>
        <p:spPr>
          <a:xfrm>
            <a:off x="5592467" y="3870128"/>
            <a:ext cx="125111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Logistic Regression</a:t>
            </a:r>
          </a:p>
          <a:p>
            <a:pPr algn="ctr">
              <a:defRPr/>
            </a:pPr>
            <a:r>
              <a:rPr lang="en-US" sz="1600" b="1" kern="0" dirty="0">
                <a:solidFill>
                  <a:schemeClr val="tx2"/>
                </a:solidFill>
                <a:latin typeface="Tw Cen MT" panose="020B0602020104020603" pitchFamily="34" charset="77"/>
                <a:ea typeface="Noto Sans" panose="020B0502040504020204" pitchFamily="34"/>
                <a:cs typeface="Segoe UI" panose="020B0502040204020203" pitchFamily="34" charset="0"/>
              </a:rPr>
              <a:t>(</a:t>
            </a:r>
            <a:r>
              <a:rPr lang="en-US" sz="1600" b="1" kern="0" dirty="0" err="1">
                <a:solidFill>
                  <a:schemeClr val="tx2"/>
                </a:solidFill>
                <a:latin typeface="Tw Cen MT" panose="020B0602020104020603" pitchFamily="34" charset="77"/>
                <a:ea typeface="Noto Sans" panose="020B0502040504020204" pitchFamily="34"/>
                <a:cs typeface="Segoe UI" panose="020B0502040204020203" pitchFamily="34" charset="0"/>
              </a:rPr>
              <a:t>Multi_class</a:t>
            </a:r>
            <a:r>
              <a:rPr lang="en-US" sz="1600" b="1" kern="0" dirty="0">
                <a:solidFill>
                  <a:schemeClr val="tx2"/>
                </a:solidFill>
                <a:latin typeface="Tw Cen MT" panose="020B0602020104020603" pitchFamily="34" charset="77"/>
                <a:ea typeface="Noto Sans" panose="020B0502040504020204" pitchFamily="34"/>
                <a:cs typeface="Segoe UI" panose="020B0502040204020203" pitchFamily="34" charset="0"/>
              </a:rPr>
              <a:t>=‘multinomial’)</a:t>
            </a:r>
            <a:endParaRPr lang="en-GB" sz="1600" b="1" kern="0" dirty="0">
              <a:solidFill>
                <a:schemeClr val="tx2"/>
              </a:solidFill>
              <a:latin typeface="Tw Cen MT" panose="020B0602020104020603" pitchFamily="34" charset="77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C2D0E5E-4822-4095-90C6-1614FA9A2B23}"/>
              </a:ext>
            </a:extLst>
          </p:cNvPr>
          <p:cNvSpPr txBox="1"/>
          <p:nvPr/>
        </p:nvSpPr>
        <p:spPr>
          <a:xfrm>
            <a:off x="8477656" y="3307305"/>
            <a:ext cx="1348833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600" b="1" kern="0">
                <a:solidFill>
                  <a:schemeClr val="tx2"/>
                </a:solidFill>
                <a:latin typeface="Tw Cen MT" panose="020B0602020104020603" pitchFamily="34" charset="77"/>
                <a:ea typeface="Noto Sans"/>
                <a:cs typeface="Segoe UI"/>
              </a:rPr>
              <a:t>Linear SVC (</a:t>
            </a:r>
            <a:r>
              <a:rPr lang="en-US" sz="1600" b="1" kern="0" err="1">
                <a:solidFill>
                  <a:schemeClr val="tx2"/>
                </a:solidFill>
                <a:latin typeface="Tw Cen MT" panose="020B0602020104020603" pitchFamily="34" charset="77"/>
                <a:ea typeface="Noto Sans"/>
                <a:cs typeface="Segoe UI"/>
              </a:rPr>
              <a:t>Multi_class</a:t>
            </a:r>
            <a:r>
              <a:rPr lang="en-US" sz="1600" b="1" kern="0">
                <a:solidFill>
                  <a:schemeClr val="tx2"/>
                </a:solidFill>
                <a:latin typeface="Tw Cen MT" panose="020B0602020104020603" pitchFamily="34" charset="77"/>
                <a:ea typeface="Noto Sans"/>
                <a:cs typeface="Segoe UI"/>
              </a:rPr>
              <a:t> = ‘OVR’)</a:t>
            </a:r>
            <a:endParaRPr lang="en-US" sz="1600">
              <a:solidFill>
                <a:schemeClr val="tx2"/>
              </a:solidFill>
              <a:latin typeface="Tw Cen MT" panose="020B0602020104020603" pitchFamily="34" charset="77"/>
              <a:ea typeface="Noto Sans"/>
              <a:cs typeface="Segoe UI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2188D91E-D36F-42E4-A822-66117B3C9E32}"/>
              </a:ext>
            </a:extLst>
          </p:cNvPr>
          <p:cNvSpPr/>
          <p:nvPr/>
        </p:nvSpPr>
        <p:spPr>
          <a:xfrm>
            <a:off x="4272142" y="3658152"/>
            <a:ext cx="605906" cy="57719"/>
          </a:xfrm>
          <a:prstGeom prst="ellipse">
            <a:avLst/>
          </a:prstGeom>
          <a:solidFill>
            <a:srgbClr val="000000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0BCFDD8-7467-4256-9E32-9837DA66A62F}"/>
              </a:ext>
            </a:extLst>
          </p:cNvPr>
          <p:cNvGrpSpPr/>
          <p:nvPr/>
        </p:nvGrpSpPr>
        <p:grpSpPr>
          <a:xfrm rot="20404528">
            <a:off x="3002450" y="1881904"/>
            <a:ext cx="1728899" cy="2001424"/>
            <a:chOff x="4742068" y="1262522"/>
            <a:chExt cx="520700" cy="1146176"/>
          </a:xfrm>
          <a:solidFill>
            <a:srgbClr val="282F39"/>
          </a:solidFill>
        </p:grpSpPr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9BDD1D59-233E-4492-8470-E4CEB7FAF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2068" y="1448260"/>
              <a:ext cx="520700" cy="960438"/>
            </a:xfrm>
            <a:custGeom>
              <a:avLst/>
              <a:gdLst>
                <a:gd name="T0" fmla="*/ 359 w 740"/>
                <a:gd name="T1" fmla="*/ 85 h 685"/>
                <a:gd name="T2" fmla="*/ 297 w 740"/>
                <a:gd name="T3" fmla="*/ 76 h 685"/>
                <a:gd name="T4" fmla="*/ 263 w 740"/>
                <a:gd name="T5" fmla="*/ 70 h 685"/>
                <a:gd name="T6" fmla="*/ 241 w 740"/>
                <a:gd name="T7" fmla="*/ 80 h 685"/>
                <a:gd name="T8" fmla="*/ 179 w 740"/>
                <a:gd name="T9" fmla="*/ 154 h 685"/>
                <a:gd name="T10" fmla="*/ 147 w 740"/>
                <a:gd name="T11" fmla="*/ 165 h 685"/>
                <a:gd name="T12" fmla="*/ 123 w 740"/>
                <a:gd name="T13" fmla="*/ 141 h 685"/>
                <a:gd name="T14" fmla="*/ 129 w 740"/>
                <a:gd name="T15" fmla="*/ 114 h 685"/>
                <a:gd name="T16" fmla="*/ 214 w 740"/>
                <a:gd name="T17" fmla="*/ 12 h 685"/>
                <a:gd name="T18" fmla="*/ 237 w 740"/>
                <a:gd name="T19" fmla="*/ 1 h 685"/>
                <a:gd name="T20" fmla="*/ 402 w 740"/>
                <a:gd name="T21" fmla="*/ 2 h 685"/>
                <a:gd name="T22" fmla="*/ 502 w 740"/>
                <a:gd name="T23" fmla="*/ 43 h 685"/>
                <a:gd name="T24" fmla="*/ 544 w 740"/>
                <a:gd name="T25" fmla="*/ 99 h 685"/>
                <a:gd name="T26" fmla="*/ 582 w 740"/>
                <a:gd name="T27" fmla="*/ 170 h 685"/>
                <a:gd name="T28" fmla="*/ 603 w 740"/>
                <a:gd name="T29" fmla="*/ 210 h 685"/>
                <a:gd name="T30" fmla="*/ 614 w 740"/>
                <a:gd name="T31" fmla="*/ 213 h 685"/>
                <a:gd name="T32" fmla="*/ 690 w 740"/>
                <a:gd name="T33" fmla="*/ 161 h 685"/>
                <a:gd name="T34" fmla="*/ 724 w 740"/>
                <a:gd name="T35" fmla="*/ 160 h 685"/>
                <a:gd name="T36" fmla="*/ 739 w 740"/>
                <a:gd name="T37" fmla="*/ 190 h 685"/>
                <a:gd name="T38" fmla="*/ 722 w 740"/>
                <a:gd name="T39" fmla="*/ 217 h 685"/>
                <a:gd name="T40" fmla="*/ 679 w 740"/>
                <a:gd name="T41" fmla="*/ 247 h 685"/>
                <a:gd name="T42" fmla="*/ 606 w 740"/>
                <a:gd name="T43" fmla="*/ 297 h 685"/>
                <a:gd name="T44" fmla="*/ 569 w 740"/>
                <a:gd name="T45" fmla="*/ 287 h 685"/>
                <a:gd name="T46" fmla="*/ 488 w 740"/>
                <a:gd name="T47" fmla="*/ 170 h 685"/>
                <a:gd name="T48" fmla="*/ 486 w 740"/>
                <a:gd name="T49" fmla="*/ 168 h 685"/>
                <a:gd name="T50" fmla="*/ 423 w 740"/>
                <a:gd name="T51" fmla="*/ 257 h 685"/>
                <a:gd name="T52" fmla="*/ 434 w 740"/>
                <a:gd name="T53" fmla="*/ 268 h 685"/>
                <a:gd name="T54" fmla="*/ 554 w 740"/>
                <a:gd name="T55" fmla="*/ 374 h 685"/>
                <a:gd name="T56" fmla="*/ 570 w 740"/>
                <a:gd name="T57" fmla="*/ 388 h 685"/>
                <a:gd name="T58" fmla="*/ 583 w 740"/>
                <a:gd name="T59" fmla="*/ 419 h 685"/>
                <a:gd name="T60" fmla="*/ 583 w 740"/>
                <a:gd name="T61" fmla="*/ 483 h 685"/>
                <a:gd name="T62" fmla="*/ 584 w 740"/>
                <a:gd name="T63" fmla="*/ 637 h 685"/>
                <a:gd name="T64" fmla="*/ 563 w 740"/>
                <a:gd name="T65" fmla="*/ 674 h 685"/>
                <a:gd name="T66" fmla="*/ 505 w 740"/>
                <a:gd name="T67" fmla="*/ 652 h 685"/>
                <a:gd name="T68" fmla="*/ 503 w 740"/>
                <a:gd name="T69" fmla="*/ 637 h 685"/>
                <a:gd name="T70" fmla="*/ 503 w 740"/>
                <a:gd name="T71" fmla="*/ 465 h 685"/>
                <a:gd name="T72" fmla="*/ 485 w 740"/>
                <a:gd name="T73" fmla="*/ 431 h 685"/>
                <a:gd name="T74" fmla="*/ 361 w 740"/>
                <a:gd name="T75" fmla="*/ 345 h 685"/>
                <a:gd name="T76" fmla="*/ 359 w 740"/>
                <a:gd name="T77" fmla="*/ 344 h 685"/>
                <a:gd name="T78" fmla="*/ 330 w 740"/>
                <a:gd name="T79" fmla="*/ 384 h 685"/>
                <a:gd name="T80" fmla="*/ 291 w 740"/>
                <a:gd name="T81" fmla="*/ 437 h 685"/>
                <a:gd name="T82" fmla="*/ 259 w 740"/>
                <a:gd name="T83" fmla="*/ 454 h 685"/>
                <a:gd name="T84" fmla="*/ 41 w 740"/>
                <a:gd name="T85" fmla="*/ 455 h 685"/>
                <a:gd name="T86" fmla="*/ 1 w 740"/>
                <a:gd name="T87" fmla="*/ 412 h 685"/>
                <a:gd name="T88" fmla="*/ 42 w 740"/>
                <a:gd name="T89" fmla="*/ 373 h 685"/>
                <a:gd name="T90" fmla="*/ 205 w 740"/>
                <a:gd name="T91" fmla="*/ 373 h 685"/>
                <a:gd name="T92" fmla="*/ 237 w 740"/>
                <a:gd name="T93" fmla="*/ 352 h 685"/>
                <a:gd name="T94" fmla="*/ 271 w 740"/>
                <a:gd name="T95" fmla="*/ 278 h 685"/>
                <a:gd name="T96" fmla="*/ 304 w 740"/>
                <a:gd name="T97" fmla="*/ 206 h 685"/>
                <a:gd name="T98" fmla="*/ 334 w 740"/>
                <a:gd name="T99" fmla="*/ 141 h 685"/>
                <a:gd name="T100" fmla="*/ 358 w 740"/>
                <a:gd name="T101" fmla="*/ 88 h 685"/>
                <a:gd name="T102" fmla="*/ 359 w 740"/>
                <a:gd name="T103" fmla="*/ 85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40" h="685">
                  <a:moveTo>
                    <a:pt x="359" y="85"/>
                  </a:moveTo>
                  <a:cubicBezTo>
                    <a:pt x="338" y="82"/>
                    <a:pt x="318" y="79"/>
                    <a:pt x="297" y="76"/>
                  </a:cubicBezTo>
                  <a:cubicBezTo>
                    <a:pt x="286" y="74"/>
                    <a:pt x="274" y="72"/>
                    <a:pt x="263" y="70"/>
                  </a:cubicBezTo>
                  <a:cubicBezTo>
                    <a:pt x="253" y="69"/>
                    <a:pt x="247" y="73"/>
                    <a:pt x="241" y="80"/>
                  </a:cubicBezTo>
                  <a:cubicBezTo>
                    <a:pt x="220" y="105"/>
                    <a:pt x="200" y="129"/>
                    <a:pt x="179" y="154"/>
                  </a:cubicBezTo>
                  <a:cubicBezTo>
                    <a:pt x="171" y="164"/>
                    <a:pt x="159" y="168"/>
                    <a:pt x="147" y="165"/>
                  </a:cubicBezTo>
                  <a:cubicBezTo>
                    <a:pt x="134" y="162"/>
                    <a:pt x="126" y="154"/>
                    <a:pt x="123" y="141"/>
                  </a:cubicBezTo>
                  <a:cubicBezTo>
                    <a:pt x="120" y="132"/>
                    <a:pt x="122" y="122"/>
                    <a:pt x="129" y="114"/>
                  </a:cubicBezTo>
                  <a:cubicBezTo>
                    <a:pt x="157" y="80"/>
                    <a:pt x="185" y="46"/>
                    <a:pt x="214" y="12"/>
                  </a:cubicBezTo>
                  <a:cubicBezTo>
                    <a:pt x="220" y="5"/>
                    <a:pt x="227" y="1"/>
                    <a:pt x="237" y="1"/>
                  </a:cubicBezTo>
                  <a:cubicBezTo>
                    <a:pt x="292" y="1"/>
                    <a:pt x="347" y="0"/>
                    <a:pt x="402" y="2"/>
                  </a:cubicBezTo>
                  <a:cubicBezTo>
                    <a:pt x="440" y="3"/>
                    <a:pt x="474" y="18"/>
                    <a:pt x="502" y="43"/>
                  </a:cubicBezTo>
                  <a:cubicBezTo>
                    <a:pt x="520" y="59"/>
                    <a:pt x="533" y="79"/>
                    <a:pt x="544" y="99"/>
                  </a:cubicBezTo>
                  <a:cubicBezTo>
                    <a:pt x="556" y="123"/>
                    <a:pt x="569" y="147"/>
                    <a:pt x="582" y="170"/>
                  </a:cubicBezTo>
                  <a:cubicBezTo>
                    <a:pt x="589" y="184"/>
                    <a:pt x="596" y="197"/>
                    <a:pt x="603" y="210"/>
                  </a:cubicBezTo>
                  <a:cubicBezTo>
                    <a:pt x="606" y="215"/>
                    <a:pt x="610" y="216"/>
                    <a:pt x="614" y="213"/>
                  </a:cubicBezTo>
                  <a:cubicBezTo>
                    <a:pt x="640" y="196"/>
                    <a:pt x="665" y="178"/>
                    <a:pt x="690" y="161"/>
                  </a:cubicBezTo>
                  <a:cubicBezTo>
                    <a:pt x="701" y="154"/>
                    <a:pt x="713" y="154"/>
                    <a:pt x="724" y="160"/>
                  </a:cubicBezTo>
                  <a:cubicBezTo>
                    <a:pt x="734" y="167"/>
                    <a:pt x="740" y="177"/>
                    <a:pt x="739" y="190"/>
                  </a:cubicBezTo>
                  <a:cubicBezTo>
                    <a:pt x="739" y="202"/>
                    <a:pt x="732" y="210"/>
                    <a:pt x="722" y="217"/>
                  </a:cubicBezTo>
                  <a:cubicBezTo>
                    <a:pt x="707" y="227"/>
                    <a:pt x="693" y="237"/>
                    <a:pt x="679" y="247"/>
                  </a:cubicBezTo>
                  <a:cubicBezTo>
                    <a:pt x="655" y="263"/>
                    <a:pt x="631" y="280"/>
                    <a:pt x="606" y="297"/>
                  </a:cubicBezTo>
                  <a:cubicBezTo>
                    <a:pt x="593" y="305"/>
                    <a:pt x="577" y="299"/>
                    <a:pt x="569" y="287"/>
                  </a:cubicBezTo>
                  <a:cubicBezTo>
                    <a:pt x="542" y="248"/>
                    <a:pt x="515" y="209"/>
                    <a:pt x="488" y="170"/>
                  </a:cubicBezTo>
                  <a:cubicBezTo>
                    <a:pt x="488" y="170"/>
                    <a:pt x="487" y="169"/>
                    <a:pt x="486" y="168"/>
                  </a:cubicBezTo>
                  <a:cubicBezTo>
                    <a:pt x="465" y="198"/>
                    <a:pt x="444" y="227"/>
                    <a:pt x="423" y="257"/>
                  </a:cubicBezTo>
                  <a:cubicBezTo>
                    <a:pt x="427" y="261"/>
                    <a:pt x="431" y="265"/>
                    <a:pt x="434" y="268"/>
                  </a:cubicBezTo>
                  <a:cubicBezTo>
                    <a:pt x="474" y="303"/>
                    <a:pt x="514" y="338"/>
                    <a:pt x="554" y="374"/>
                  </a:cubicBezTo>
                  <a:cubicBezTo>
                    <a:pt x="559" y="378"/>
                    <a:pt x="565" y="383"/>
                    <a:pt x="570" y="388"/>
                  </a:cubicBezTo>
                  <a:cubicBezTo>
                    <a:pt x="579" y="396"/>
                    <a:pt x="583" y="407"/>
                    <a:pt x="583" y="419"/>
                  </a:cubicBezTo>
                  <a:cubicBezTo>
                    <a:pt x="583" y="440"/>
                    <a:pt x="583" y="461"/>
                    <a:pt x="583" y="483"/>
                  </a:cubicBezTo>
                  <a:cubicBezTo>
                    <a:pt x="584" y="534"/>
                    <a:pt x="584" y="585"/>
                    <a:pt x="584" y="637"/>
                  </a:cubicBezTo>
                  <a:cubicBezTo>
                    <a:pt x="584" y="653"/>
                    <a:pt x="577" y="666"/>
                    <a:pt x="563" y="674"/>
                  </a:cubicBezTo>
                  <a:cubicBezTo>
                    <a:pt x="541" y="685"/>
                    <a:pt x="513" y="676"/>
                    <a:pt x="505" y="652"/>
                  </a:cubicBezTo>
                  <a:cubicBezTo>
                    <a:pt x="503" y="647"/>
                    <a:pt x="503" y="642"/>
                    <a:pt x="503" y="637"/>
                  </a:cubicBezTo>
                  <a:cubicBezTo>
                    <a:pt x="502" y="579"/>
                    <a:pt x="502" y="522"/>
                    <a:pt x="503" y="465"/>
                  </a:cubicBezTo>
                  <a:cubicBezTo>
                    <a:pt x="503" y="450"/>
                    <a:pt x="498" y="439"/>
                    <a:pt x="485" y="431"/>
                  </a:cubicBezTo>
                  <a:cubicBezTo>
                    <a:pt x="444" y="402"/>
                    <a:pt x="402" y="373"/>
                    <a:pt x="361" y="345"/>
                  </a:cubicBezTo>
                  <a:cubicBezTo>
                    <a:pt x="361" y="344"/>
                    <a:pt x="360" y="344"/>
                    <a:pt x="359" y="344"/>
                  </a:cubicBezTo>
                  <a:cubicBezTo>
                    <a:pt x="350" y="357"/>
                    <a:pt x="340" y="371"/>
                    <a:pt x="330" y="384"/>
                  </a:cubicBezTo>
                  <a:cubicBezTo>
                    <a:pt x="317" y="402"/>
                    <a:pt x="304" y="420"/>
                    <a:pt x="291" y="437"/>
                  </a:cubicBezTo>
                  <a:cubicBezTo>
                    <a:pt x="283" y="448"/>
                    <a:pt x="273" y="454"/>
                    <a:pt x="259" y="454"/>
                  </a:cubicBezTo>
                  <a:cubicBezTo>
                    <a:pt x="186" y="454"/>
                    <a:pt x="113" y="455"/>
                    <a:pt x="41" y="455"/>
                  </a:cubicBezTo>
                  <a:cubicBezTo>
                    <a:pt x="17" y="455"/>
                    <a:pt x="0" y="435"/>
                    <a:pt x="1" y="412"/>
                  </a:cubicBezTo>
                  <a:cubicBezTo>
                    <a:pt x="1" y="390"/>
                    <a:pt x="21" y="373"/>
                    <a:pt x="42" y="373"/>
                  </a:cubicBezTo>
                  <a:cubicBezTo>
                    <a:pt x="97" y="373"/>
                    <a:pt x="151" y="373"/>
                    <a:pt x="205" y="373"/>
                  </a:cubicBezTo>
                  <a:cubicBezTo>
                    <a:pt x="226" y="373"/>
                    <a:pt x="231" y="367"/>
                    <a:pt x="237" y="352"/>
                  </a:cubicBezTo>
                  <a:cubicBezTo>
                    <a:pt x="248" y="327"/>
                    <a:pt x="260" y="303"/>
                    <a:pt x="271" y="278"/>
                  </a:cubicBezTo>
                  <a:cubicBezTo>
                    <a:pt x="282" y="254"/>
                    <a:pt x="293" y="230"/>
                    <a:pt x="304" y="206"/>
                  </a:cubicBezTo>
                  <a:cubicBezTo>
                    <a:pt x="314" y="184"/>
                    <a:pt x="324" y="163"/>
                    <a:pt x="334" y="141"/>
                  </a:cubicBezTo>
                  <a:cubicBezTo>
                    <a:pt x="342" y="123"/>
                    <a:pt x="350" y="106"/>
                    <a:pt x="358" y="88"/>
                  </a:cubicBezTo>
                  <a:cubicBezTo>
                    <a:pt x="358" y="88"/>
                    <a:pt x="358" y="87"/>
                    <a:pt x="359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282F39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59E5581-CD2B-4F8A-BA84-3E83A56A3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806" y="1262522"/>
              <a:ext cx="111125" cy="219075"/>
            </a:xfrm>
            <a:custGeom>
              <a:avLst/>
              <a:gdLst>
                <a:gd name="T0" fmla="*/ 78 w 157"/>
                <a:gd name="T1" fmla="*/ 0 h 156"/>
                <a:gd name="T2" fmla="*/ 157 w 157"/>
                <a:gd name="T3" fmla="*/ 78 h 156"/>
                <a:gd name="T4" fmla="*/ 79 w 157"/>
                <a:gd name="T5" fmla="*/ 156 h 156"/>
                <a:gd name="T6" fmla="*/ 0 w 157"/>
                <a:gd name="T7" fmla="*/ 78 h 156"/>
                <a:gd name="T8" fmla="*/ 78 w 157"/>
                <a:gd name="T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6">
                  <a:moveTo>
                    <a:pt x="78" y="0"/>
                  </a:moveTo>
                  <a:cubicBezTo>
                    <a:pt x="123" y="0"/>
                    <a:pt x="157" y="34"/>
                    <a:pt x="157" y="78"/>
                  </a:cubicBezTo>
                  <a:cubicBezTo>
                    <a:pt x="156" y="121"/>
                    <a:pt x="123" y="156"/>
                    <a:pt x="79" y="156"/>
                  </a:cubicBezTo>
                  <a:cubicBezTo>
                    <a:pt x="34" y="156"/>
                    <a:pt x="0" y="122"/>
                    <a:pt x="0" y="78"/>
                  </a:cubicBezTo>
                  <a:cubicBezTo>
                    <a:pt x="0" y="33"/>
                    <a:pt x="34" y="0"/>
                    <a:pt x="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282F39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03" name="Oval 102">
            <a:extLst>
              <a:ext uri="{FF2B5EF4-FFF2-40B4-BE49-F238E27FC236}">
                <a16:creationId xmlns:a16="http://schemas.microsoft.com/office/drawing/2014/main" id="{3A0C1378-CC4A-424C-AB13-F2CA1EBF5F9F}"/>
              </a:ext>
            </a:extLst>
          </p:cNvPr>
          <p:cNvSpPr/>
          <p:nvPr/>
        </p:nvSpPr>
        <p:spPr>
          <a:xfrm>
            <a:off x="3039927" y="3990468"/>
            <a:ext cx="300265" cy="63286"/>
          </a:xfrm>
          <a:prstGeom prst="ellipse">
            <a:avLst/>
          </a:prstGeom>
          <a:solidFill>
            <a:srgbClr val="000000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B87D65-0873-4C8F-A34A-667F9F00454F}"/>
              </a:ext>
            </a:extLst>
          </p:cNvPr>
          <p:cNvSpPr txBox="1"/>
          <p:nvPr/>
        </p:nvSpPr>
        <p:spPr>
          <a:xfrm>
            <a:off x="2943922" y="4338242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1.76%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C11917F-F706-4D15-A0C5-ED6616CC21CD}"/>
              </a:ext>
            </a:extLst>
          </p:cNvPr>
          <p:cNvSpPr txBox="1"/>
          <p:nvPr/>
        </p:nvSpPr>
        <p:spPr>
          <a:xfrm>
            <a:off x="4454408" y="3935813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2.50%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0B65535-6D69-445C-BB72-D35557516946}"/>
              </a:ext>
            </a:extLst>
          </p:cNvPr>
          <p:cNvSpPr txBox="1"/>
          <p:nvPr/>
        </p:nvSpPr>
        <p:spPr>
          <a:xfrm>
            <a:off x="5870725" y="3500037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3.07%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F2D3106-59CF-4E28-B900-255091E7C2AC}"/>
              </a:ext>
            </a:extLst>
          </p:cNvPr>
          <p:cNvSpPr txBox="1"/>
          <p:nvPr/>
        </p:nvSpPr>
        <p:spPr>
          <a:xfrm>
            <a:off x="7345951" y="3105878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5.10%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361E5F5-8BC3-4F1A-A685-3762FD072C00}"/>
              </a:ext>
            </a:extLst>
          </p:cNvPr>
          <p:cNvSpPr txBox="1"/>
          <p:nvPr/>
        </p:nvSpPr>
        <p:spPr>
          <a:xfrm>
            <a:off x="8808048" y="2674789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5.12</a:t>
            </a:r>
            <a:r>
              <a:rPr lang="en-IN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D9C6E69E-88C0-4B4B-9E9A-6A9843699455}"/>
              </a:ext>
            </a:extLst>
          </p:cNvPr>
          <p:cNvSpPr txBox="1">
            <a:spLocks/>
          </p:cNvSpPr>
          <p:nvPr/>
        </p:nvSpPr>
        <p:spPr>
          <a:xfrm>
            <a:off x="512844" y="542273"/>
            <a:ext cx="9344435" cy="553796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MODELS USE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91DFA05-D810-FE0A-3D11-1E13FAE2A280}"/>
              </a:ext>
            </a:extLst>
          </p:cNvPr>
          <p:cNvSpPr/>
          <p:nvPr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4DAF976-24E4-4217-ABE6-7BF2E96C91BB}"/>
              </a:ext>
            </a:extLst>
          </p:cNvPr>
          <p:cNvSpPr/>
          <p:nvPr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2AF3D9-7332-E387-476C-2B76DFD9DC84}"/>
              </a:ext>
            </a:extLst>
          </p:cNvPr>
          <p:cNvSpPr txBox="1"/>
          <p:nvPr/>
        </p:nvSpPr>
        <p:spPr>
          <a:xfrm>
            <a:off x="6978789" y="3830525"/>
            <a:ext cx="1377247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600" b="1" kern="0">
                <a:solidFill>
                  <a:schemeClr val="tx2"/>
                </a:solidFill>
                <a:latin typeface="Tw Cen MT" panose="020B0602020104020603" pitchFamily="34" charset="77"/>
                <a:ea typeface="Noto Sans"/>
                <a:cs typeface="Segoe UI"/>
              </a:rPr>
              <a:t>Linear SVC </a:t>
            </a:r>
            <a:endParaRPr lang="en-US" sz="1600">
              <a:solidFill>
                <a:schemeClr val="tx2"/>
              </a:solidFill>
              <a:latin typeface="Tw Cen MT" panose="020B0602020104020603" pitchFamily="34" charset="77"/>
              <a:ea typeface="Noto Sans"/>
              <a:cs typeface="Segoe U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4CBC40-B12E-C2A6-3414-68F3EC412A41}"/>
              </a:ext>
            </a:extLst>
          </p:cNvPr>
          <p:cNvSpPr txBox="1"/>
          <p:nvPr/>
        </p:nvSpPr>
        <p:spPr>
          <a:xfrm>
            <a:off x="2622601" y="4668697"/>
            <a:ext cx="1236446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schemeClr val="tx2"/>
                </a:solidFill>
                <a:latin typeface="Tw Cen MT" panose="020B0602020104020603" pitchFamily="34" charset="77"/>
                <a:ea typeface="Noto Sans"/>
                <a:cs typeface="Segoe UI"/>
              </a:rPr>
              <a:t>Gradient Boosting</a:t>
            </a:r>
            <a:endParaRPr lang="en-US" sz="1600" b="1" kern="0" dirty="0">
              <a:solidFill>
                <a:schemeClr val="tx2"/>
              </a:solidFill>
              <a:latin typeface="Tw Cen MT" panose="020B0602020104020603" pitchFamily="34" charset="77"/>
              <a:ea typeface="Noto Sans" panose="020B0502040504020204" pitchFamily="34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2849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983315-8A3A-150A-63A6-F851EBB72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136" y="143183"/>
            <a:ext cx="10515600" cy="1325563"/>
          </a:xfrm>
        </p:spPr>
        <p:txBody>
          <a:bodyPr>
            <a:noAutofit/>
          </a:bodyPr>
          <a:lstStyle/>
          <a:p>
            <a:r>
              <a:rPr lang="en-US" sz="3600" dirty="0">
                <a:solidFill>
                  <a:schemeClr val="tx2"/>
                </a:solidFill>
                <a:latin typeface="Tw Cen MT" panose="020B0602020104020603" pitchFamily="34" charset="77"/>
              </a:rPr>
              <a:t>PROJECT EXECUTION TEA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302CF4-8EF2-F78A-B5B9-AD135A361F70}"/>
              </a:ext>
            </a:extLst>
          </p:cNvPr>
          <p:cNvSpPr txBox="1"/>
          <p:nvPr/>
        </p:nvSpPr>
        <p:spPr>
          <a:xfrm>
            <a:off x="1009694" y="3897835"/>
            <a:ext cx="246249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err="1">
                <a:solidFill>
                  <a:schemeClr val="tx2"/>
                </a:solidFill>
                <a:latin typeface="Tw Cen MT" panose="020B0602020104020603" pitchFamily="34" charset="77"/>
              </a:rPr>
              <a:t>Baluni</a:t>
            </a:r>
            <a:r>
              <a:rPr lang="en-US" b="1">
                <a:solidFill>
                  <a:schemeClr val="tx2"/>
                </a:solidFill>
                <a:latin typeface="Tw Cen MT" panose="020B0602020104020603" pitchFamily="34" charset="77"/>
              </a:rPr>
              <a:t>,</a:t>
            </a:r>
          </a:p>
          <a:p>
            <a:pPr algn="ctr"/>
            <a:r>
              <a:rPr lang="en-US" b="1" err="1">
                <a:solidFill>
                  <a:schemeClr val="tx2"/>
                </a:solidFill>
                <a:latin typeface="Tw Cen MT" panose="020B0602020104020603" pitchFamily="34" charset="77"/>
              </a:rPr>
              <a:t>Sanyukta</a:t>
            </a:r>
            <a:endParaRPr lang="en-US" b="1">
              <a:solidFill>
                <a:schemeClr val="tx2"/>
              </a:solidFill>
              <a:latin typeface="Tw Cen MT" panose="020B0602020104020603" pitchFamily="34" charset="7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CB0FA01-5FF3-3163-25E0-C6D9C7C5D9A6}"/>
              </a:ext>
            </a:extLst>
          </p:cNvPr>
          <p:cNvSpPr txBox="1"/>
          <p:nvPr/>
        </p:nvSpPr>
        <p:spPr>
          <a:xfrm>
            <a:off x="3445040" y="3897835"/>
            <a:ext cx="154917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  <a:latin typeface="Tw Cen MT" panose="020B0602020104020603" pitchFamily="34" charset="77"/>
              </a:rPr>
              <a:t>Gulati,</a:t>
            </a:r>
          </a:p>
          <a:p>
            <a:pPr algn="ctr"/>
            <a:r>
              <a:rPr lang="en-US" b="1">
                <a:solidFill>
                  <a:schemeClr val="tx2"/>
                </a:solidFill>
                <a:latin typeface="Tw Cen MT" panose="020B0602020104020603" pitchFamily="34" charset="77"/>
              </a:rPr>
              <a:t>Tavis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0EF5B2-8A8C-392F-D106-2C331A2AC432}"/>
              </a:ext>
            </a:extLst>
          </p:cNvPr>
          <p:cNvSpPr txBox="1"/>
          <p:nvPr/>
        </p:nvSpPr>
        <p:spPr>
          <a:xfrm>
            <a:off x="5056670" y="3880364"/>
            <a:ext cx="2175582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  <a:latin typeface="Tw Cen MT" panose="020B0602020104020603" pitchFamily="34" charset="77"/>
              </a:rPr>
              <a:t>Patil,</a:t>
            </a:r>
          </a:p>
          <a:p>
            <a:pPr algn="ctr"/>
            <a:r>
              <a:rPr lang="en-US" b="1">
                <a:solidFill>
                  <a:schemeClr val="tx2"/>
                </a:solidFill>
                <a:latin typeface="Tw Cen MT" panose="020B0602020104020603" pitchFamily="34" charset="77"/>
              </a:rPr>
              <a:t>Soham</a:t>
            </a:r>
            <a:endParaRPr lang="en-US" sz="1600">
              <a:solidFill>
                <a:schemeClr val="tx2"/>
              </a:solidFill>
              <a:latin typeface="Tw Cen MT" panose="020B0602020104020603" pitchFamily="34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85D412-229E-E152-2C0B-1735051D7583}"/>
              </a:ext>
            </a:extLst>
          </p:cNvPr>
          <p:cNvSpPr txBox="1"/>
          <p:nvPr/>
        </p:nvSpPr>
        <p:spPr>
          <a:xfrm>
            <a:off x="7258234" y="3897835"/>
            <a:ext cx="149808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  <a:latin typeface="Tw Cen MT" panose="020B0602020104020603" pitchFamily="34" charset="77"/>
              </a:rPr>
              <a:t>Sheth,</a:t>
            </a:r>
          </a:p>
          <a:p>
            <a:pPr algn="ctr"/>
            <a:r>
              <a:rPr lang="en-US" b="1">
                <a:solidFill>
                  <a:schemeClr val="tx2"/>
                </a:solidFill>
                <a:latin typeface="Tw Cen MT" panose="020B0602020104020603" pitchFamily="34" charset="77"/>
              </a:rPr>
              <a:t>Parth</a:t>
            </a:r>
            <a:endParaRPr lang="en-US" b="1">
              <a:solidFill>
                <a:schemeClr val="tx2"/>
              </a:solidFill>
              <a:latin typeface="Tw Cen MT" panose="020B0602020104020603" pitchFamily="34" charset="77"/>
              <a:cs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17FC9E-4456-2769-84F7-EA1BC2154099}"/>
              </a:ext>
            </a:extLst>
          </p:cNvPr>
          <p:cNvSpPr txBox="1"/>
          <p:nvPr/>
        </p:nvSpPr>
        <p:spPr>
          <a:xfrm>
            <a:off x="9057373" y="3897835"/>
            <a:ext cx="175344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err="1">
                <a:solidFill>
                  <a:schemeClr val="tx2"/>
                </a:solidFill>
                <a:latin typeface="Tw Cen MT" panose="020B0602020104020603" pitchFamily="34" charset="77"/>
              </a:rPr>
              <a:t>Chilla</a:t>
            </a:r>
            <a:r>
              <a:rPr lang="en-US" b="1">
                <a:solidFill>
                  <a:schemeClr val="tx2"/>
                </a:solidFill>
                <a:latin typeface="Tw Cen MT" panose="020B0602020104020603" pitchFamily="34" charset="77"/>
              </a:rPr>
              <a:t>,</a:t>
            </a:r>
          </a:p>
          <a:p>
            <a:pPr algn="ctr"/>
            <a:r>
              <a:rPr lang="en-US" b="1" err="1">
                <a:solidFill>
                  <a:schemeClr val="tx2"/>
                </a:solidFill>
                <a:latin typeface="Tw Cen MT" panose="020B0602020104020603" pitchFamily="34" charset="77"/>
                <a:cs typeface="Calibri"/>
              </a:rPr>
              <a:t>Madhulika</a:t>
            </a:r>
            <a:endParaRPr lang="en-US" b="1">
              <a:solidFill>
                <a:schemeClr val="tx2"/>
              </a:solidFill>
              <a:latin typeface="Tw Cen MT" panose="020B0602020104020603" pitchFamily="34" charset="77"/>
              <a:cs typeface="Calibri"/>
            </a:endParaRPr>
          </a:p>
        </p:txBody>
      </p:sp>
      <p:sp>
        <p:nvSpPr>
          <p:cNvPr id="23" name="Akarsh">
            <a:extLst>
              <a:ext uri="{FF2B5EF4-FFF2-40B4-BE49-F238E27FC236}">
                <a16:creationId xmlns:a16="http://schemas.microsoft.com/office/drawing/2014/main" id="{A0CC9643-744A-F25C-9638-4EFD5FF709ED}"/>
              </a:ext>
            </a:extLst>
          </p:cNvPr>
          <p:cNvSpPr txBox="1"/>
          <p:nvPr/>
        </p:nvSpPr>
        <p:spPr>
          <a:xfrm>
            <a:off x="1576903" y="4604468"/>
            <a:ext cx="187314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>
                <a:solidFill>
                  <a:schemeClr val="bg1">
                    <a:lumMod val="50000"/>
                  </a:schemeClr>
                </a:solidFill>
              </a:rPr>
              <a:t>sbaluni@purdue.edu</a:t>
            </a:r>
            <a:endParaRPr lang="en-US" sz="1200" i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Anubhav">
            <a:extLst>
              <a:ext uri="{FF2B5EF4-FFF2-40B4-BE49-F238E27FC236}">
                <a16:creationId xmlns:a16="http://schemas.microsoft.com/office/drawing/2014/main" id="{8FDF5DA1-FD69-34E2-35BB-4F473849A36D}"/>
              </a:ext>
            </a:extLst>
          </p:cNvPr>
          <p:cNvSpPr txBox="1"/>
          <p:nvPr/>
        </p:nvSpPr>
        <p:spPr>
          <a:xfrm>
            <a:off x="3625694" y="4588969"/>
            <a:ext cx="212619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>
                <a:solidFill>
                  <a:schemeClr val="bg1">
                    <a:lumMod val="50000"/>
                  </a:schemeClr>
                </a:solidFill>
              </a:rPr>
              <a:t>tgulati@purdue.edu</a:t>
            </a:r>
            <a:endParaRPr lang="en-US" sz="1050"/>
          </a:p>
        </p:txBody>
      </p:sp>
      <p:sp>
        <p:nvSpPr>
          <p:cNvPr id="25" name="Manmeet">
            <a:extLst>
              <a:ext uri="{FF2B5EF4-FFF2-40B4-BE49-F238E27FC236}">
                <a16:creationId xmlns:a16="http://schemas.microsoft.com/office/drawing/2014/main" id="{237DDFF7-2697-4D0C-5353-4FCF2F747A33}"/>
              </a:ext>
            </a:extLst>
          </p:cNvPr>
          <p:cNvSpPr txBox="1"/>
          <p:nvPr/>
        </p:nvSpPr>
        <p:spPr>
          <a:xfrm>
            <a:off x="5518908" y="4597300"/>
            <a:ext cx="212619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>
                <a:solidFill>
                  <a:schemeClr val="bg1">
                    <a:lumMod val="50000"/>
                  </a:schemeClr>
                </a:solidFill>
              </a:rPr>
              <a:t>patil124@purdue.edu</a:t>
            </a:r>
            <a:endParaRPr lang="en-US" sz="1050" b="1"/>
          </a:p>
        </p:txBody>
      </p:sp>
      <p:sp>
        <p:nvSpPr>
          <p:cNvPr id="26" name="Parth">
            <a:extLst>
              <a:ext uri="{FF2B5EF4-FFF2-40B4-BE49-F238E27FC236}">
                <a16:creationId xmlns:a16="http://schemas.microsoft.com/office/drawing/2014/main" id="{045CAF22-D15A-3E2A-C2E2-5777049706CB}"/>
              </a:ext>
            </a:extLst>
          </p:cNvPr>
          <p:cNvSpPr txBox="1"/>
          <p:nvPr/>
        </p:nvSpPr>
        <p:spPr>
          <a:xfrm>
            <a:off x="7392810" y="4567817"/>
            <a:ext cx="212619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>
                <a:solidFill>
                  <a:schemeClr val="bg1">
                    <a:lumMod val="50000"/>
                  </a:schemeClr>
                </a:solidFill>
              </a:rPr>
              <a:t>shethp@purdue.edu</a:t>
            </a:r>
            <a:endParaRPr lang="en-US" sz="1200" b="1"/>
          </a:p>
        </p:txBody>
      </p:sp>
      <p:sp>
        <p:nvSpPr>
          <p:cNvPr id="27" name="Rahul">
            <a:extLst>
              <a:ext uri="{FF2B5EF4-FFF2-40B4-BE49-F238E27FC236}">
                <a16:creationId xmlns:a16="http://schemas.microsoft.com/office/drawing/2014/main" id="{1FC58665-A5BA-C87D-8F2C-340ED05C4BBD}"/>
              </a:ext>
            </a:extLst>
          </p:cNvPr>
          <p:cNvSpPr txBox="1"/>
          <p:nvPr/>
        </p:nvSpPr>
        <p:spPr>
          <a:xfrm>
            <a:off x="9283586" y="4588969"/>
            <a:ext cx="212619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>
                <a:solidFill>
                  <a:schemeClr val="bg1">
                    <a:lumMod val="50000"/>
                  </a:schemeClr>
                </a:solidFill>
              </a:rPr>
              <a:t>mchilla@purdue.edu</a:t>
            </a:r>
            <a:endParaRPr lang="en-US" sz="1200"/>
          </a:p>
        </p:txBody>
      </p:sp>
      <p:pic>
        <p:nvPicPr>
          <p:cNvPr id="3" name="Picture 2" descr="A person in a suit and tie&#10;&#10;Description automatically generated with medium confidence">
            <a:extLst>
              <a:ext uri="{FF2B5EF4-FFF2-40B4-BE49-F238E27FC236}">
                <a16:creationId xmlns:a16="http://schemas.microsoft.com/office/drawing/2014/main" id="{45A6780F-176F-D77D-864B-4678D8888A8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6875" l="9961" r="96875">
                        <a14:foregroundMark x1="29688" y1="63438" x2="53711" y2="94453"/>
                        <a14:foregroundMark x1="53711" y1="94453" x2="87598" y2="74141"/>
                        <a14:foregroundMark x1="87598" y1="74141" x2="17773" y2="62031"/>
                        <a14:foregroundMark x1="30371" y1="70469" x2="54590" y2="86016"/>
                        <a14:foregroundMark x1="81055" y1="85156" x2="47754" y2="91797"/>
                        <a14:foregroundMark x1="21289" y1="75234" x2="76465" y2="93828"/>
                        <a14:foregroundMark x1="76465" y1="93828" x2="16211" y2="77813"/>
                        <a14:foregroundMark x1="82520" y1="63672" x2="75879" y2="96719"/>
                        <a14:foregroundMark x1="75879" y1="96719" x2="70117" y2="66406"/>
                        <a14:foregroundMark x1="70117" y1="66406" x2="86328" y2="66172"/>
                        <a14:foregroundMark x1="65625" y1="52812" x2="96875" y2="80313"/>
                        <a14:foregroundMark x1="96875" y1="80313" x2="90527" y2="93516"/>
                        <a14:foregroundMark x1="13574" y1="79141" x2="44434" y2="96875"/>
                      </a14:backgroundRemoval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911" r="668" b="3594"/>
          <a:stretch/>
        </p:blipFill>
        <p:spPr>
          <a:xfrm>
            <a:off x="7294708" y="1971396"/>
            <a:ext cx="1361226" cy="1902788"/>
          </a:xfrm>
          <a:prstGeom prst="ellipse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4DEA24DB-127D-56CB-A8D3-15E7475C2A2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61" b="98633" l="9646" r="96703">
                        <a14:foregroundMark x1="35287" y1="68262" x2="32723" y2="90723"/>
                        <a14:foregroundMark x1="62027" y1="72656" x2="20269" y2="78906"/>
                        <a14:foregroundMark x1="20269" y1="78906" x2="71184" y2="94434"/>
                        <a14:foregroundMark x1="71184" y1="94434" x2="90110" y2="95117"/>
                        <a14:foregroundMark x1="29060" y1="67285" x2="42491" y2="95215"/>
                        <a14:foregroundMark x1="42491" y1="95215" x2="96703" y2="98633"/>
                        <a14:foregroundMark x1="96703" y1="98633" x2="70574" y2="59375"/>
                        <a14:foregroundMark x1="70574" y1="59375" x2="25275" y2="74512"/>
                        <a14:foregroundMark x1="25275" y1="74512" x2="15995" y2="87305"/>
                      </a14:backgroundRemoval>
                    </a14:imgEffect>
                  </a14:imgLayer>
                </a14:imgProps>
              </a:ext>
            </a:extLst>
          </a:blip>
          <a:srcRect l="8338"/>
          <a:stretch/>
        </p:blipFill>
        <p:spPr>
          <a:xfrm>
            <a:off x="3625694" y="1939425"/>
            <a:ext cx="1379484" cy="1920192"/>
          </a:xfrm>
          <a:prstGeom prst="ellipse">
            <a:avLst/>
          </a:prstGeom>
        </p:spPr>
      </p:pic>
      <p:pic>
        <p:nvPicPr>
          <p:cNvPr id="18" name="Picture 17" descr="A picture containing person, clothing, posing, suit&#10;&#10;Description automatically generated">
            <a:extLst>
              <a:ext uri="{FF2B5EF4-FFF2-40B4-BE49-F238E27FC236}">
                <a16:creationId xmlns:a16="http://schemas.microsoft.com/office/drawing/2014/main" id="{CBF6E982-A97B-5EEF-3441-B7DC91A7A84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8516" l="1855" r="89844">
                        <a14:foregroundMark x1="25977" y1="58047" x2="20996" y2="75547"/>
                        <a14:foregroundMark x1="22852" y1="68984" x2="25977" y2="90547"/>
                        <a14:foregroundMark x1="13281" y1="66797" x2="14160" y2="89063"/>
                        <a14:foregroundMark x1="78516" y1="70391" x2="88086" y2="91641"/>
                        <a14:foregroundMark x1="62109" y1="87578" x2="70313" y2="95234"/>
                        <a14:foregroundMark x1="21484" y1="90859" x2="36523" y2="92734"/>
                        <a14:foregroundMark x1="49316" y1="94922" x2="73926" y2="96719"/>
                        <a14:foregroundMark x1="6836" y1="92734" x2="6836" y2="92734"/>
                        <a14:foregroundMark x1="6836" y1="93828" x2="9082" y2="82500"/>
                        <a14:foregroundMark x1="1855" y1="98516" x2="3223" y2="91953"/>
                      </a14:backgroundRemoval>
                    </a14:imgEffect>
                  </a14:imgLayer>
                </a14:imgProps>
              </a:ext>
            </a:extLst>
          </a:blip>
          <a:srcRect l="1568" r="3575"/>
          <a:stretch/>
        </p:blipFill>
        <p:spPr>
          <a:xfrm>
            <a:off x="1514006" y="1960363"/>
            <a:ext cx="1453876" cy="1915888"/>
          </a:xfrm>
          <a:prstGeom prst="ellipse">
            <a:avLst/>
          </a:prstGeom>
        </p:spPr>
      </p:pic>
      <p:pic>
        <p:nvPicPr>
          <p:cNvPr id="32" name="Picture 31" descr="A person in a suit&#10;&#10;Description automatically generated with low confidence">
            <a:extLst>
              <a:ext uri="{FF2B5EF4-FFF2-40B4-BE49-F238E27FC236}">
                <a16:creationId xmlns:a16="http://schemas.microsoft.com/office/drawing/2014/main" id="{FE457E31-A87C-B003-BC4A-1CE3990735A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6797" l="7813" r="97852">
                        <a14:foregroundMark x1="14746" y1="96797" x2="42871" y2="96406"/>
                        <a14:foregroundMark x1="79590" y1="71094" x2="89941" y2="90859"/>
                        <a14:foregroundMark x1="79004" y1="72969" x2="67578" y2="94063"/>
                        <a14:foregroundMark x1="64648" y1="67422" x2="60059" y2="94063"/>
                        <a14:foregroundMark x1="83008" y1="68359" x2="86523" y2="80781"/>
                        <a14:foregroundMark x1="91113" y1="77109" x2="91699" y2="90391"/>
                        <a14:foregroundMark x1="93359" y1="95938" x2="94531" y2="82109"/>
                        <a14:foregroundMark x1="97949" y1="94063" x2="95117" y2="85313"/>
                        <a14:foregroundMark x1="7813" y1="96406" x2="10156" y2="89922"/>
                      </a14:backgroundRemoval>
                    </a14:imgEffect>
                  </a14:imgLayer>
                </a14:imgProps>
              </a:ext>
            </a:extLst>
          </a:blip>
          <a:srcRect l="5460" r="1795"/>
          <a:stretch/>
        </p:blipFill>
        <p:spPr>
          <a:xfrm>
            <a:off x="9181422" y="1964885"/>
            <a:ext cx="1416624" cy="1909298"/>
          </a:xfrm>
          <a:prstGeom prst="ellipse">
            <a:avLst/>
          </a:prstGeom>
        </p:spPr>
      </p:pic>
      <p:pic>
        <p:nvPicPr>
          <p:cNvPr id="37" name="Picture 36" descr="A person in a suit and tie&#10;&#10;Description automatically generated with medium confidence">
            <a:extLst>
              <a:ext uri="{FF2B5EF4-FFF2-40B4-BE49-F238E27FC236}">
                <a16:creationId xmlns:a16="http://schemas.microsoft.com/office/drawing/2014/main" id="{54ABEA41-0B53-6641-B2D7-671C572CFB2F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9688" l="2051" r="98047">
                        <a14:foregroundMark x1="27246" y1="71563" x2="20996" y2="95547"/>
                        <a14:foregroundMark x1="20996" y1="95547" x2="21289" y2="96016"/>
                        <a14:foregroundMark x1="76074" y1="80000" x2="83398" y2="93125"/>
                        <a14:foregroundMark x1="77930" y1="67578" x2="92969" y2="81406"/>
                        <a14:foregroundMark x1="72949" y1="66797" x2="63281" y2="94219"/>
                        <a14:foregroundMark x1="10352" y1="83281" x2="9473" y2="98984"/>
                        <a14:foregroundMark x1="9473" y1="79219" x2="8984" y2="88750"/>
                        <a14:foregroundMark x1="8496" y1="81797" x2="7518" y2="84048"/>
                        <a14:foregroundMark x1="94336" y1="83984" x2="95313" y2="98281"/>
                        <a14:foregroundMark x1="96680" y1="97109" x2="98047" y2="93516"/>
                        <a14:foregroundMark x1="8105" y1="85469" x2="7617" y2="99688"/>
                        <a14:foregroundMark x1="10840" y1="75938" x2="7129" y2="94609"/>
                        <a14:backgroundMark x1="76074" y1="44219" x2="75684" y2="59922"/>
                        <a14:backgroundMark x1="69727" y1="48203" x2="71973" y2="51875"/>
                        <a14:backgroundMark x1="5371" y1="73438" x2="1660" y2="96797"/>
                        <a14:backgroundMark x1="5762" y1="83984" x2="5682" y2="85415"/>
                      </a14:backgroundRemoval>
                    </a14:imgEffect>
                  </a14:imgLayer>
                </a14:imgProps>
              </a:ext>
            </a:extLst>
          </a:blip>
          <a:srcRect l="4609" t="-159" r="5291" b="159"/>
          <a:stretch/>
        </p:blipFill>
        <p:spPr>
          <a:xfrm>
            <a:off x="5380232" y="1932495"/>
            <a:ext cx="1416624" cy="196534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27179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437B1791-1AC3-A74B-62F3-DDDF0CAF6C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476" t="29142" r="15222" b="8781"/>
          <a:stretch/>
        </p:blipFill>
        <p:spPr>
          <a:xfrm>
            <a:off x="351064" y="1652576"/>
            <a:ext cx="5110843" cy="239372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6E1354B-23A2-4A3D-BDDC-100B0034FA73}"/>
              </a:ext>
            </a:extLst>
          </p:cNvPr>
          <p:cNvSpPr/>
          <p:nvPr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9D39E3-25E3-202C-D707-2A34551222C8}"/>
              </a:ext>
            </a:extLst>
          </p:cNvPr>
          <p:cNvSpPr/>
          <p:nvPr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725B09-FF11-2A85-4700-F75AEB877766}"/>
              </a:ext>
            </a:extLst>
          </p:cNvPr>
          <p:cNvSpPr txBox="1"/>
          <p:nvPr/>
        </p:nvSpPr>
        <p:spPr>
          <a:xfrm>
            <a:off x="704512" y="527625"/>
            <a:ext cx="794721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  <a:cs typeface="Calibri"/>
              </a:rPr>
              <a:t>DEALING WITH IMBALANCED DATA</a:t>
            </a:r>
          </a:p>
        </p:txBody>
      </p:sp>
      <p:pic>
        <p:nvPicPr>
          <p:cNvPr id="1026" name="Picture 2" descr="Bank Data: SMOTE. This will be a short post before we… | by Zaki Jefferson  | Analytics Vidhya | Medium">
            <a:extLst>
              <a:ext uri="{FF2B5EF4-FFF2-40B4-BE49-F238E27FC236}">
                <a16:creationId xmlns:a16="http://schemas.microsoft.com/office/drawing/2014/main" id="{28D80EC5-A8D3-AFF0-51CB-20516B5426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43"/>
          <a:stretch/>
        </p:blipFill>
        <p:spPr bwMode="auto">
          <a:xfrm>
            <a:off x="5949251" y="3719743"/>
            <a:ext cx="5703557" cy="2124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E63659A-1CF6-2D67-8017-7D867C27DF1A}"/>
              </a:ext>
            </a:extLst>
          </p:cNvPr>
          <p:cNvSpPr txBox="1"/>
          <p:nvPr/>
        </p:nvSpPr>
        <p:spPr>
          <a:xfrm>
            <a:off x="661648" y="1431109"/>
            <a:ext cx="4982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tx2"/>
                </a:solidFill>
                <a:latin typeface="Tw Cen MT" panose="020B0602020104020603" pitchFamily="34" charset="77"/>
              </a:rPr>
              <a:t>UNDERSAMPLING AND OVERSAMPL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087483-EC89-F9D2-2729-1EB0424A165D}"/>
              </a:ext>
            </a:extLst>
          </p:cNvPr>
          <p:cNvSpPr txBox="1"/>
          <p:nvPr/>
        </p:nvSpPr>
        <p:spPr>
          <a:xfrm>
            <a:off x="5949250" y="3058389"/>
            <a:ext cx="5891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Tw Cen MT" panose="020B0602020104020603" pitchFamily="34" charset="77"/>
              </a:rPr>
              <a:t>SMOT (SYNTHETIC MINORITY OVERSAMPLING TECHNIQUE)</a:t>
            </a:r>
          </a:p>
        </p:txBody>
      </p:sp>
    </p:spTree>
    <p:extLst>
      <p:ext uri="{BB962C8B-B14F-4D97-AF65-F5344CB8AC3E}">
        <p14:creationId xmlns:p14="http://schemas.microsoft.com/office/powerpoint/2010/main" val="4064574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D9C6E69E-88C0-4B4B-9E9A-6A9843699455}"/>
              </a:ext>
            </a:extLst>
          </p:cNvPr>
          <p:cNvSpPr txBox="1">
            <a:spLocks/>
          </p:cNvSpPr>
          <p:nvPr/>
        </p:nvSpPr>
        <p:spPr>
          <a:xfrm>
            <a:off x="512844" y="542273"/>
            <a:ext cx="9344435" cy="553796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RESULTS FROM BEST MODEL (WITH AND WITHOUT OVERSAMPLING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91DFA05-D810-FE0A-3D11-1E13FAE2A280}"/>
              </a:ext>
            </a:extLst>
          </p:cNvPr>
          <p:cNvSpPr/>
          <p:nvPr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4DAF976-24E4-4217-ABE6-7BF2E96C91BB}"/>
              </a:ext>
            </a:extLst>
          </p:cNvPr>
          <p:cNvSpPr/>
          <p:nvPr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What is a confusion matrix?. Everything you Should Know about… | by  Anuganti Suresh | Analytics Vidhya | Medium">
            <a:extLst>
              <a:ext uri="{FF2B5EF4-FFF2-40B4-BE49-F238E27FC236}">
                <a16:creationId xmlns:a16="http://schemas.microsoft.com/office/drawing/2014/main" id="{8B33533C-4008-13E7-433B-65D1D90C72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844" y="1980458"/>
            <a:ext cx="4885757" cy="2567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onfusion matrix. Exemplified CM with the formulas of precision (PR),... |  Download Scientific Diagram">
            <a:extLst>
              <a:ext uri="{FF2B5EF4-FFF2-40B4-BE49-F238E27FC236}">
                <a16:creationId xmlns:a16="http://schemas.microsoft.com/office/drawing/2014/main" id="{B23C4838-217A-516A-4DC0-38749AC51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58" t="14632" r="11071" b="49307"/>
          <a:stretch/>
        </p:blipFill>
        <p:spPr bwMode="auto">
          <a:xfrm>
            <a:off x="2402048" y="4723002"/>
            <a:ext cx="1918282" cy="1023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image">
            <a:extLst>
              <a:ext uri="{FF2B5EF4-FFF2-40B4-BE49-F238E27FC236}">
                <a16:creationId xmlns:a16="http://schemas.microsoft.com/office/drawing/2014/main" id="{9E1AC64A-FC98-C75C-864D-71E4C7F8DE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7779" y="1683067"/>
            <a:ext cx="5066358" cy="2217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6435BDB-8942-D714-1596-FA82834E9584}"/>
              </a:ext>
            </a:extLst>
          </p:cNvPr>
          <p:cNvSpPr txBox="1"/>
          <p:nvPr/>
        </p:nvSpPr>
        <p:spPr>
          <a:xfrm>
            <a:off x="7759817" y="1249621"/>
            <a:ext cx="196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BEFORE SMOT</a:t>
            </a:r>
          </a:p>
        </p:txBody>
      </p:sp>
      <p:pic>
        <p:nvPicPr>
          <p:cNvPr id="7" name="Picture 2" descr="image">
            <a:extLst>
              <a:ext uri="{FF2B5EF4-FFF2-40B4-BE49-F238E27FC236}">
                <a16:creationId xmlns:a16="http://schemas.microsoft.com/office/drawing/2014/main" id="{CB811DE4-7537-BFFF-AAE8-E5F9AA4611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8132" y="4299332"/>
            <a:ext cx="5186680" cy="2366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3169022-1166-4688-1B0B-E552B0882733}"/>
              </a:ext>
            </a:extLst>
          </p:cNvPr>
          <p:cNvSpPr txBox="1"/>
          <p:nvPr/>
        </p:nvSpPr>
        <p:spPr>
          <a:xfrm>
            <a:off x="7849449" y="4043476"/>
            <a:ext cx="2078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AFTER SMOT</a:t>
            </a:r>
          </a:p>
        </p:txBody>
      </p:sp>
    </p:spTree>
    <p:extLst>
      <p:ext uri="{BB962C8B-B14F-4D97-AF65-F5344CB8AC3E}">
        <p14:creationId xmlns:p14="http://schemas.microsoft.com/office/powerpoint/2010/main" val="4681334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6E1354B-23A2-4A3D-BDDC-100B0034FA73}"/>
              </a:ext>
            </a:extLst>
          </p:cNvPr>
          <p:cNvSpPr/>
          <p:nvPr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9D39E3-25E3-202C-D707-2A34551222C8}"/>
              </a:ext>
            </a:extLst>
          </p:cNvPr>
          <p:cNvSpPr/>
          <p:nvPr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725B09-FF11-2A85-4700-F75AEB877766}"/>
              </a:ext>
            </a:extLst>
          </p:cNvPr>
          <p:cNvSpPr txBox="1"/>
          <p:nvPr/>
        </p:nvSpPr>
        <p:spPr>
          <a:xfrm>
            <a:off x="704512" y="527625"/>
            <a:ext cx="794721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600" dirty="0">
                <a:solidFill>
                  <a:schemeClr val="tx2"/>
                </a:solidFill>
                <a:latin typeface="Tw Cen MT" panose="020B0602020104020603" pitchFamily="34" charset="77"/>
                <a:cs typeface="Calibri"/>
              </a:rPr>
              <a:t>RESULTS ON PREDICTION DATASET</a:t>
            </a:r>
          </a:p>
        </p:txBody>
      </p:sp>
      <p:pic>
        <p:nvPicPr>
          <p:cNvPr id="2054" name="Picture 6" descr="image">
            <a:extLst>
              <a:ext uri="{FF2B5EF4-FFF2-40B4-BE49-F238E27FC236}">
                <a16:creationId xmlns:a16="http://schemas.microsoft.com/office/drawing/2014/main" id="{542D551B-89E0-59D5-52C4-FCFABD5E0A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095" y="2329329"/>
            <a:ext cx="6137138" cy="2631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What is a confusion matrix?. Everything you Should Know about… | by  Anuganti Suresh | Analytics Vidhya | Medium">
            <a:extLst>
              <a:ext uri="{FF2B5EF4-FFF2-40B4-BE49-F238E27FC236}">
                <a16:creationId xmlns:a16="http://schemas.microsoft.com/office/drawing/2014/main" id="{67B4E796-3034-453C-9FC9-AABF3D1FD5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844" y="1980458"/>
            <a:ext cx="4885757" cy="2567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Confusion matrix. Exemplified CM with the formulas of precision (PR),... |  Download Scientific Diagram">
            <a:extLst>
              <a:ext uri="{FF2B5EF4-FFF2-40B4-BE49-F238E27FC236}">
                <a16:creationId xmlns:a16="http://schemas.microsoft.com/office/drawing/2014/main" id="{8F0EA71B-59BC-75BF-805F-7B818174A3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58" t="14632" r="11071" b="49307"/>
          <a:stretch/>
        </p:blipFill>
        <p:spPr bwMode="auto">
          <a:xfrm>
            <a:off x="2402048" y="4723002"/>
            <a:ext cx="1918282" cy="1023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0471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024CA-C617-586C-9A45-5682CD8FA7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1191" y="367105"/>
            <a:ext cx="10993549" cy="762516"/>
          </a:xfrm>
        </p:spPr>
        <p:txBody>
          <a:bodyPr>
            <a:normAutofit/>
          </a:bodyPr>
          <a:lstStyle/>
          <a:p>
            <a:pPr algn="l"/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TOPIC MODELING - LD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5C6CD-7B19-5B20-62F8-71ADC0DF59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1194" y="1372022"/>
            <a:ext cx="10993546" cy="1373396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>
              <a:lnSpc>
                <a:spcPct val="150000"/>
              </a:lnSpc>
            </a:pPr>
            <a:r>
              <a:rPr lang="en-US" sz="180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Topic modeling was done on general category data. After categorizing the general category data through classification into ‘</a:t>
            </a:r>
            <a:r>
              <a:rPr lang="en-US" sz="1800" err="1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cars+trucks</a:t>
            </a:r>
            <a:r>
              <a:rPr lang="en-US" sz="180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’ , ‘</a:t>
            </a:r>
            <a:r>
              <a:rPr lang="en-US" sz="1800" err="1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beauty+hlth</a:t>
            </a:r>
            <a:r>
              <a:rPr lang="en-US" sz="180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’ and others, we decided to perform topic modeling on this others sub-category to find topic distribution of advertisement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710F48B-66AF-0401-6755-642D903380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825" y="3015938"/>
            <a:ext cx="4274820" cy="219329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AC0D3BB-9F74-EA1D-E2BF-0AEB2EE2C45E}"/>
              </a:ext>
            </a:extLst>
          </p:cNvPr>
          <p:cNvSpPr/>
          <p:nvPr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37A166E-F7DB-1EDC-A03F-0DD9051F16C5}"/>
              </a:ext>
            </a:extLst>
          </p:cNvPr>
          <p:cNvSpPr/>
          <p:nvPr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1085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A4736FD-D19E-E1C6-1ABC-B0B00EA084D5}"/>
              </a:ext>
            </a:extLst>
          </p:cNvPr>
          <p:cNvSpPr txBox="1"/>
          <p:nvPr/>
        </p:nvSpPr>
        <p:spPr>
          <a:xfrm>
            <a:off x="8436370" y="1417399"/>
            <a:ext cx="357657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0" i="0">
                <a:effectLst/>
                <a:latin typeface="-apple-system"/>
              </a:rPr>
              <a:t>A good topic model has fairly big, non-overlapping bubbles scattered throughout the chart instead of being clustered in one quadrant</a:t>
            </a:r>
            <a:endParaRPr lang="en-US"/>
          </a:p>
          <a:p>
            <a:endParaRPr lang="en-US"/>
          </a:p>
          <a:p>
            <a:r>
              <a:rPr lang="en-US"/>
              <a:t>Through topic modeling we realized that topic 1 talk about shipping containers, storage containers.</a:t>
            </a:r>
          </a:p>
          <a:p>
            <a:endParaRPr lang="en-US"/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17729315-F3D2-0133-3CAA-13B8B1A26B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448" y="1464149"/>
            <a:ext cx="7772400" cy="47963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1E21733-783B-A83E-9383-181700DEA0F9}"/>
              </a:ext>
            </a:extLst>
          </p:cNvPr>
          <p:cNvSpPr/>
          <p:nvPr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D75DB7-7841-BEDB-50E1-5599731777C5}"/>
              </a:ext>
            </a:extLst>
          </p:cNvPr>
          <p:cNvSpPr/>
          <p:nvPr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54731FF-F51E-F5CC-4547-F179CDFC22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1191" y="367105"/>
            <a:ext cx="10993549" cy="762516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TOPIC MODELING - LD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BE33231-E3BA-807F-2F68-BA04875C145F}"/>
              </a:ext>
            </a:extLst>
          </p:cNvPr>
          <p:cNvSpPr txBox="1"/>
          <p:nvPr/>
        </p:nvSpPr>
        <p:spPr>
          <a:xfrm>
            <a:off x="8531587" y="4051113"/>
            <a:ext cx="327183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The </a:t>
            </a:r>
            <a:r>
              <a:rPr lang="en-US" err="1"/>
              <a:t>intertopic</a:t>
            </a:r>
            <a:r>
              <a:rPr lang="en-US"/>
              <a:t> distance map is a visualization of the topics in a two-dimensional space . The area of these topic circles is proportional to the amount of words that belong to each topic across the dictionary.</a:t>
            </a:r>
          </a:p>
        </p:txBody>
      </p:sp>
    </p:spTree>
    <p:extLst>
      <p:ext uri="{BB962C8B-B14F-4D97-AF65-F5344CB8AC3E}">
        <p14:creationId xmlns:p14="http://schemas.microsoft.com/office/powerpoint/2010/main" val="6380374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61D99EA-5833-644E-B017-EB7D6EDB22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9803" y="564744"/>
            <a:ext cx="10515600" cy="150018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200">
                <a:solidFill>
                  <a:schemeClr val="tx2"/>
                </a:solidFill>
                <a:latin typeface="Tw Cen MT" panose="020B0602020104020603" pitchFamily="34" charset="77"/>
                <a:cs typeface="Segoe UI"/>
              </a:rPr>
              <a:t>LIMITATIONS</a:t>
            </a:r>
          </a:p>
        </p:txBody>
      </p:sp>
      <p:sp>
        <p:nvSpPr>
          <p:cNvPr id="39" name="Sev04">
            <a:extLst>
              <a:ext uri="{FF2B5EF4-FFF2-40B4-BE49-F238E27FC236}">
                <a16:creationId xmlns:a16="http://schemas.microsoft.com/office/drawing/2014/main" id="{6AA3E1C1-0EAA-4C19-B641-5605ED9C1AAC}"/>
              </a:ext>
            </a:extLst>
          </p:cNvPr>
          <p:cNvSpPr/>
          <p:nvPr/>
        </p:nvSpPr>
        <p:spPr>
          <a:xfrm rot="18900000">
            <a:off x="8500206" y="2269331"/>
            <a:ext cx="1209747" cy="1209747"/>
          </a:xfrm>
          <a:prstGeom prst="rect">
            <a:avLst/>
          </a:prstGeom>
          <a:solidFill>
            <a:srgbClr val="FEC003"/>
          </a:solidFill>
          <a:ln w="25400" cap="flat" cmpd="sng" algn="ctr">
            <a:solidFill>
              <a:srgbClr val="FEC003"/>
            </a:solidFill>
            <a:prstDash val="solid"/>
          </a:ln>
          <a:effectLst/>
        </p:spPr>
        <p:txBody>
          <a:bodyPr rtlCol="0" anchor="ctr"/>
          <a:lstStyle/>
          <a:p>
            <a:pPr algn="ctr" defTabSz="1031626">
              <a:defRPr/>
            </a:pPr>
            <a:endParaRPr lang="en-US" sz="4000" kern="0">
              <a:solidFill>
                <a:srgbClr val="F19B14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Sev03">
            <a:extLst>
              <a:ext uri="{FF2B5EF4-FFF2-40B4-BE49-F238E27FC236}">
                <a16:creationId xmlns:a16="http://schemas.microsoft.com/office/drawing/2014/main" id="{A9B5FE86-7A24-40E4-A2C0-76B76879633F}"/>
              </a:ext>
            </a:extLst>
          </p:cNvPr>
          <p:cNvSpPr/>
          <p:nvPr/>
        </p:nvSpPr>
        <p:spPr>
          <a:xfrm rot="18900000">
            <a:off x="6305833" y="2269331"/>
            <a:ext cx="1209747" cy="1209747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014884"/>
            </a:solidFill>
            <a:prstDash val="solid"/>
          </a:ln>
          <a:effectLst/>
        </p:spPr>
        <p:txBody>
          <a:bodyPr rtlCol="0" anchor="ctr"/>
          <a:lstStyle/>
          <a:p>
            <a:pPr algn="ctr" defTabSz="1031626">
              <a:defRPr/>
            </a:pPr>
            <a:endParaRPr lang="en-US" sz="4000" kern="0">
              <a:solidFill>
                <a:srgbClr val="9BB95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Sev02">
            <a:extLst>
              <a:ext uri="{FF2B5EF4-FFF2-40B4-BE49-F238E27FC236}">
                <a16:creationId xmlns:a16="http://schemas.microsoft.com/office/drawing/2014/main" id="{928BA394-411E-4C02-B1CF-F22D988B4800}"/>
              </a:ext>
            </a:extLst>
          </p:cNvPr>
          <p:cNvSpPr/>
          <p:nvPr/>
        </p:nvSpPr>
        <p:spPr>
          <a:xfrm rot="18900000">
            <a:off x="4149424" y="2280960"/>
            <a:ext cx="1209747" cy="1209747"/>
          </a:xfrm>
          <a:prstGeom prst="rect">
            <a:avLst/>
          </a:prstGeom>
          <a:solidFill>
            <a:srgbClr val="FEC003"/>
          </a:solidFill>
          <a:ln w="25400" cap="flat" cmpd="sng" algn="ctr">
            <a:solidFill>
              <a:srgbClr val="FEC003"/>
            </a:solidFill>
            <a:prstDash val="solid"/>
          </a:ln>
          <a:effectLst/>
        </p:spPr>
        <p:txBody>
          <a:bodyPr rtlCol="0" anchor="ctr"/>
          <a:lstStyle/>
          <a:p>
            <a:pPr algn="ctr" defTabSz="1031626">
              <a:defRPr/>
            </a:pPr>
            <a:endParaRPr lang="en-US" sz="6000" kern="0">
              <a:solidFill>
                <a:srgbClr val="15AA96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Sev01">
            <a:extLst>
              <a:ext uri="{FF2B5EF4-FFF2-40B4-BE49-F238E27FC236}">
                <a16:creationId xmlns:a16="http://schemas.microsoft.com/office/drawing/2014/main" id="{0F5B880F-46E8-44DA-88DC-2499C098074A}"/>
              </a:ext>
            </a:extLst>
          </p:cNvPr>
          <p:cNvSpPr/>
          <p:nvPr/>
        </p:nvSpPr>
        <p:spPr>
          <a:xfrm rot="18900000">
            <a:off x="2043896" y="2280960"/>
            <a:ext cx="1209747" cy="1209747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014884"/>
            </a:solidFill>
            <a:prstDash val="solid"/>
          </a:ln>
          <a:effectLst/>
        </p:spPr>
        <p:txBody>
          <a:bodyPr rtlCol="0" anchor="ctr"/>
          <a:lstStyle/>
          <a:p>
            <a:pPr algn="ctr" defTabSz="1031626">
              <a:defRPr/>
            </a:pPr>
            <a:endParaRPr lang="en-US" sz="4000" kern="0">
              <a:solidFill>
                <a:srgbClr val="01488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623D3DD-45AD-41C3-9E6A-7407829BB2C3}"/>
              </a:ext>
            </a:extLst>
          </p:cNvPr>
          <p:cNvSpPr txBox="1"/>
          <p:nvPr/>
        </p:nvSpPr>
        <p:spPr>
          <a:xfrm>
            <a:off x="1401114" y="3863001"/>
            <a:ext cx="2333151" cy="95000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b="1">
                <a:solidFill>
                  <a:srgbClr val="014884"/>
                </a:solidFill>
                <a:latin typeface="Segoe UI"/>
                <a:cs typeface="Segoe UI"/>
              </a:rPr>
              <a:t>DATA</a:t>
            </a:r>
            <a:endParaRPr lang="en-US" b="1">
              <a:solidFill>
                <a:srgbClr val="01488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defRPr/>
            </a:pPr>
            <a:r>
              <a:rPr lang="en-US" sz="1400">
                <a:latin typeface="Calibri"/>
                <a:ea typeface="+mn-lt"/>
                <a:cs typeface="+mn-lt"/>
              </a:rPr>
              <a:t> Presence of imbalanced data</a:t>
            </a:r>
          </a:p>
          <a:p>
            <a:pPr>
              <a:spcBef>
                <a:spcPct val="20000"/>
              </a:spcBef>
              <a:defRPr/>
            </a:pPr>
            <a:endParaRPr lang="en-US" sz="1400">
              <a:solidFill>
                <a:srgbClr val="26262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Sev01">
            <a:extLst>
              <a:ext uri="{FF2B5EF4-FFF2-40B4-BE49-F238E27FC236}">
                <a16:creationId xmlns:a16="http://schemas.microsoft.com/office/drawing/2014/main" id="{1F8E99F2-9F64-4D1A-BEC4-A2EE9F4E074C}"/>
              </a:ext>
            </a:extLst>
          </p:cNvPr>
          <p:cNvSpPr/>
          <p:nvPr/>
        </p:nvSpPr>
        <p:spPr>
          <a:xfrm rot="18900000">
            <a:off x="2043896" y="2196766"/>
            <a:ext cx="1209747" cy="120974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14884"/>
            </a:solidFill>
            <a:prstDash val="solid"/>
          </a:ln>
          <a:effectLst/>
        </p:spPr>
        <p:txBody>
          <a:bodyPr rtlCol="0" anchor="ctr"/>
          <a:lstStyle/>
          <a:p>
            <a:pPr algn="ctr" defTabSz="1031626">
              <a:defRPr/>
            </a:pPr>
            <a:endParaRPr lang="en-US" sz="4000" kern="0">
              <a:solidFill>
                <a:srgbClr val="01488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4F3F3F9-0E08-4E98-92C4-334E30198E75}"/>
              </a:ext>
            </a:extLst>
          </p:cNvPr>
          <p:cNvSpPr txBox="1"/>
          <p:nvPr/>
        </p:nvSpPr>
        <p:spPr>
          <a:xfrm>
            <a:off x="3658583" y="3863001"/>
            <a:ext cx="2201578" cy="169790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b="1">
                <a:solidFill>
                  <a:srgbClr val="FEC003"/>
                </a:solidFill>
                <a:latin typeface="Segoe UI"/>
                <a:cs typeface="Segoe UI"/>
              </a:rPr>
              <a:t>RESTRICTED ACCESS TO WEBSITE</a:t>
            </a:r>
            <a:endParaRPr lang="en-US" b="1">
              <a:solidFill>
                <a:srgbClr val="FEC00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defRPr/>
            </a:pPr>
            <a:r>
              <a:rPr lang="en-US" sz="1400">
                <a:ea typeface="+mn-lt"/>
                <a:cs typeface="+mn-lt"/>
              </a:rPr>
              <a:t>Difficulties to extract more data</a:t>
            </a:r>
          </a:p>
          <a:p>
            <a:pPr algn="ctr">
              <a:spcBef>
                <a:spcPct val="20000"/>
              </a:spcBef>
              <a:defRPr/>
            </a:pPr>
            <a:endParaRPr lang="en-US" sz="1400">
              <a:solidFill>
                <a:srgbClr val="26262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Sev02">
            <a:extLst>
              <a:ext uri="{FF2B5EF4-FFF2-40B4-BE49-F238E27FC236}">
                <a16:creationId xmlns:a16="http://schemas.microsoft.com/office/drawing/2014/main" id="{1163A183-A0B6-49F1-81EB-8F296DD16A2A}"/>
              </a:ext>
            </a:extLst>
          </p:cNvPr>
          <p:cNvSpPr/>
          <p:nvPr/>
        </p:nvSpPr>
        <p:spPr>
          <a:xfrm rot="18900000">
            <a:off x="4149424" y="2212241"/>
            <a:ext cx="1209747" cy="120974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EC003"/>
            </a:solidFill>
            <a:prstDash val="solid"/>
          </a:ln>
          <a:effectLst/>
        </p:spPr>
        <p:txBody>
          <a:bodyPr rtlCol="0" anchor="ctr"/>
          <a:lstStyle/>
          <a:p>
            <a:pPr algn="ctr" defTabSz="1031626">
              <a:defRPr/>
            </a:pPr>
            <a:endParaRPr lang="en-US" sz="6000" kern="0">
              <a:solidFill>
                <a:srgbClr val="FEC00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C9ECE99-62C2-4F45-B321-C3366FF4F55A}"/>
              </a:ext>
            </a:extLst>
          </p:cNvPr>
          <p:cNvSpPr txBox="1"/>
          <p:nvPr/>
        </p:nvSpPr>
        <p:spPr>
          <a:xfrm>
            <a:off x="5918950" y="3862553"/>
            <a:ext cx="2135008" cy="984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031626"/>
            <a:r>
              <a:rPr lang="en-US" b="1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AGE</a:t>
            </a:r>
          </a:p>
          <a:p>
            <a:pPr algn="ctr" defTabSz="1031626"/>
            <a:r>
              <a:rPr lang="en-US" sz="1400">
                <a:solidFill>
                  <a:srgbClr val="262626"/>
                </a:solidFill>
                <a:latin typeface="Calibri"/>
                <a:cs typeface="Segoe UI"/>
              </a:rPr>
              <a:t>Ads with only images could not be accounted</a:t>
            </a:r>
          </a:p>
          <a:p>
            <a:pPr algn="ctr" defTabSz="1031626"/>
            <a:endParaRPr lang="en-US" sz="1200">
              <a:solidFill>
                <a:srgbClr val="26262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Sev03">
            <a:extLst>
              <a:ext uri="{FF2B5EF4-FFF2-40B4-BE49-F238E27FC236}">
                <a16:creationId xmlns:a16="http://schemas.microsoft.com/office/drawing/2014/main" id="{4325762A-6A7D-4CDF-A003-B8B367631759}"/>
              </a:ext>
            </a:extLst>
          </p:cNvPr>
          <p:cNvSpPr/>
          <p:nvPr/>
        </p:nvSpPr>
        <p:spPr>
          <a:xfrm rot="18900000">
            <a:off x="6305833" y="2204387"/>
            <a:ext cx="1209747" cy="120974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14884"/>
            </a:solidFill>
            <a:prstDash val="solid"/>
          </a:ln>
          <a:effectLst/>
        </p:spPr>
        <p:txBody>
          <a:bodyPr rtlCol="0" anchor="ctr"/>
          <a:lstStyle/>
          <a:p>
            <a:pPr algn="ctr" defTabSz="1031626">
              <a:defRPr/>
            </a:pPr>
            <a:endParaRPr lang="en-US" sz="4000" kern="0">
              <a:solidFill>
                <a:srgbClr val="01488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10E7496-CB27-4923-9DBA-8D6A18C01EA1}"/>
              </a:ext>
            </a:extLst>
          </p:cNvPr>
          <p:cNvSpPr txBox="1"/>
          <p:nvPr/>
        </p:nvSpPr>
        <p:spPr>
          <a:xfrm>
            <a:off x="8085853" y="3867993"/>
            <a:ext cx="2135008" cy="8002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031626"/>
            <a:r>
              <a:rPr lang="en-US" b="1">
                <a:solidFill>
                  <a:srgbClr val="FEC00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CRIPTION</a:t>
            </a:r>
          </a:p>
          <a:p>
            <a:pPr algn="ctr" defTabSz="1031626"/>
            <a:r>
              <a:rPr lang="en-US" sz="1400">
                <a:solidFill>
                  <a:srgbClr val="262626"/>
                </a:solidFill>
                <a:latin typeface="Calibri"/>
                <a:cs typeface="Segoe UI"/>
              </a:rPr>
              <a:t>Valid ads without a body text were ignored.</a:t>
            </a:r>
          </a:p>
        </p:txBody>
      </p:sp>
      <p:sp>
        <p:nvSpPr>
          <p:cNvPr id="51" name="Sev04">
            <a:extLst>
              <a:ext uri="{FF2B5EF4-FFF2-40B4-BE49-F238E27FC236}">
                <a16:creationId xmlns:a16="http://schemas.microsoft.com/office/drawing/2014/main" id="{611FD86D-58E4-4ACA-800B-5616C6984843}"/>
              </a:ext>
            </a:extLst>
          </p:cNvPr>
          <p:cNvSpPr/>
          <p:nvPr/>
        </p:nvSpPr>
        <p:spPr>
          <a:xfrm rot="18900000">
            <a:off x="8487087" y="2204387"/>
            <a:ext cx="1209747" cy="120974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EC003"/>
            </a:solidFill>
            <a:prstDash val="solid"/>
          </a:ln>
          <a:effectLst/>
        </p:spPr>
        <p:txBody>
          <a:bodyPr rtlCol="0" anchor="ctr"/>
          <a:lstStyle/>
          <a:p>
            <a:pPr algn="ctr" defTabSz="1031626">
              <a:defRPr/>
            </a:pPr>
            <a:endParaRPr lang="en-US" sz="4000" kern="0">
              <a:solidFill>
                <a:srgbClr val="F19B14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3" name="Picture 52" descr="A close up of a logo&#10;&#10;Description automatically generated">
            <a:extLst>
              <a:ext uri="{FF2B5EF4-FFF2-40B4-BE49-F238E27FC236}">
                <a16:creationId xmlns:a16="http://schemas.microsoft.com/office/drawing/2014/main" id="{5B7ECB50-1BD9-4202-A064-4D0BDCEEB82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53" t="1305" r="17004" b="15651"/>
          <a:stretch/>
        </p:blipFill>
        <p:spPr>
          <a:xfrm>
            <a:off x="4580560" y="2655410"/>
            <a:ext cx="347472" cy="437586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26" name="Picture 2">
            <a:extLst>
              <a:ext uri="{FF2B5EF4-FFF2-40B4-BE49-F238E27FC236}">
                <a16:creationId xmlns:a16="http://schemas.microsoft.com/office/drawing/2014/main" id="{7568FA15-6917-4FB7-8601-0C8E72B9EF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7946" y="2438426"/>
            <a:ext cx="674739" cy="674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06" name="Picture 2" descr="https://static.thenounproject.com/png/1130794-200.png">
            <a:extLst>
              <a:ext uri="{FF2B5EF4-FFF2-40B4-BE49-F238E27FC236}">
                <a16:creationId xmlns:a16="http://schemas.microsoft.com/office/drawing/2014/main" id="{B24B2A64-7948-43C4-AD9D-792800919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377" y="2458522"/>
            <a:ext cx="676656" cy="67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08" name="Picture 4" descr="https://static.thenounproject.com/png/1822288-200.png">
            <a:extLst>
              <a:ext uri="{FF2B5EF4-FFF2-40B4-BE49-F238E27FC236}">
                <a16:creationId xmlns:a16="http://schemas.microsoft.com/office/drawing/2014/main" id="{CBBF43D3-8810-4A36-96B4-4BA8B5E6E5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440" y="2458522"/>
            <a:ext cx="676656" cy="67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65236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4FD90C-DF26-166D-D666-836BC7171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0055" y="2769082"/>
            <a:ext cx="5626026" cy="1593345"/>
          </a:xfrm>
          <a:noFill/>
          <a:ln>
            <a:noFill/>
          </a:ln>
        </p:spPr>
        <p:txBody>
          <a:bodyPr vert="horz" lIns="91440" tIns="45720" rIns="91440" bIns="45720" rtlCol="0" anchor="b">
            <a:noAutofit/>
          </a:bodyPr>
          <a:lstStyle/>
          <a:p>
            <a:pPr algn="ctr"/>
            <a:r>
              <a:rPr lang="en-US" sz="4800">
                <a:solidFill>
                  <a:schemeClr val="tx2"/>
                </a:solidFill>
                <a:latin typeface="Tw Cen MT" panose="020B0602020104020603" pitchFamily="34" charset="77"/>
              </a:rPr>
              <a:t>CONCLUSION AND RECOMMENDATION</a:t>
            </a:r>
          </a:p>
        </p:txBody>
      </p:sp>
      <p:pic>
        <p:nvPicPr>
          <p:cNvPr id="3" name="Graphic 2" descr="Good Idea outline">
            <a:extLst>
              <a:ext uri="{FF2B5EF4-FFF2-40B4-BE49-F238E27FC236}">
                <a16:creationId xmlns:a16="http://schemas.microsoft.com/office/drawing/2014/main" id="{9FCFE02A-3B84-6964-8BBA-0CB09609DC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48287" y="1751162"/>
            <a:ext cx="4065916" cy="406591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03ABDD5-F0DA-8A3E-1883-D30DC8B15136}"/>
              </a:ext>
            </a:extLst>
          </p:cNvPr>
          <p:cNvSpPr/>
          <p:nvPr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217FC15-87C0-A0ED-1E0D-95C2E7C2A080}"/>
              </a:ext>
            </a:extLst>
          </p:cNvPr>
          <p:cNvSpPr/>
          <p:nvPr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5235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37F3B6-3E92-4150-8711-D4599E40F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497054"/>
            <a:ext cx="10920654" cy="675975"/>
          </a:xfrm>
        </p:spPr>
        <p:txBody>
          <a:bodyPr>
            <a:normAutofit/>
          </a:bodyPr>
          <a:lstStyle/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CONCLUSION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A5D90FA-C9D4-4298-1FE5-CE38781450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19095047"/>
              </p:ext>
            </p:extLst>
          </p:nvPr>
        </p:nvGraphicFramePr>
        <p:xfrm>
          <a:off x="652742" y="1467267"/>
          <a:ext cx="11029950" cy="46078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0D206F5-B558-336B-F8FA-9AF6175AC739}"/>
              </a:ext>
            </a:extLst>
          </p:cNvPr>
          <p:cNvSpPr/>
          <p:nvPr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EC9004-C5BB-AB14-3D13-DDCECBAD9C92}"/>
              </a:ext>
            </a:extLst>
          </p:cNvPr>
          <p:cNvSpPr/>
          <p:nvPr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4519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564107-412D-B5D7-6174-D14FFAF6A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854" y="631135"/>
            <a:ext cx="11153608" cy="455132"/>
          </a:xfrm>
        </p:spPr>
        <p:txBody>
          <a:bodyPr>
            <a:noAutofit/>
          </a:bodyPr>
          <a:lstStyle/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RECOMMENDATIONS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252F0E29-3E2C-EDF9-78C4-2A7EBDC99D2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6091527"/>
              </p:ext>
            </p:extLst>
          </p:nvPr>
        </p:nvGraphicFramePr>
        <p:xfrm>
          <a:off x="652910" y="1159607"/>
          <a:ext cx="11029615" cy="4755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Graphic 4" descr="Badge Follow with solid fill">
            <a:extLst>
              <a:ext uri="{FF2B5EF4-FFF2-40B4-BE49-F238E27FC236}">
                <a16:creationId xmlns:a16="http://schemas.microsoft.com/office/drawing/2014/main" id="{9D59073D-5DE7-21CA-078A-BB22334EED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71055" y="2143121"/>
            <a:ext cx="914400" cy="914400"/>
          </a:xfrm>
          <a:prstGeom prst="rect">
            <a:avLst/>
          </a:prstGeom>
        </p:spPr>
      </p:pic>
      <p:pic>
        <p:nvPicPr>
          <p:cNvPr id="8" name="Graphic 7" descr="Magnifying glass with solid fill">
            <a:extLst>
              <a:ext uri="{FF2B5EF4-FFF2-40B4-BE49-F238E27FC236}">
                <a16:creationId xmlns:a16="http://schemas.microsoft.com/office/drawing/2014/main" id="{8BEABB10-ABB7-12ED-E8FF-07C4A0D75D3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18000" y="2143121"/>
            <a:ext cx="914400" cy="914400"/>
          </a:xfrm>
          <a:prstGeom prst="rect">
            <a:avLst/>
          </a:prstGeom>
        </p:spPr>
      </p:pic>
      <p:pic>
        <p:nvPicPr>
          <p:cNvPr id="10" name="Graphic 9" descr="Image with solid fill">
            <a:extLst>
              <a:ext uri="{FF2B5EF4-FFF2-40B4-BE49-F238E27FC236}">
                <a16:creationId xmlns:a16="http://schemas.microsoft.com/office/drawing/2014/main" id="{7A8D228D-71CC-7C93-D039-29574E5E2F3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26760" y="2143121"/>
            <a:ext cx="914400" cy="914400"/>
          </a:xfrm>
          <a:prstGeom prst="rect">
            <a:avLst/>
          </a:prstGeom>
        </p:spPr>
      </p:pic>
      <p:pic>
        <p:nvPicPr>
          <p:cNvPr id="12" name="Graphic 11" descr="Upward trend with solid fill">
            <a:extLst>
              <a:ext uri="{FF2B5EF4-FFF2-40B4-BE49-F238E27FC236}">
                <a16:creationId xmlns:a16="http://schemas.microsoft.com/office/drawing/2014/main" id="{9ACA6A5C-46DB-C446-78AF-C62379F8E16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465736" y="2143121"/>
            <a:ext cx="914400" cy="9144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B9831D0-E83C-F8FC-CB0F-CE6656B043C2}"/>
              </a:ext>
            </a:extLst>
          </p:cNvPr>
          <p:cNvSpPr/>
          <p:nvPr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D9ABA6E-8060-CB9C-2B01-898BFEC5D8AE}"/>
              </a:ext>
            </a:extLst>
          </p:cNvPr>
          <p:cNvSpPr/>
          <p:nvPr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556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raphic 5" descr="Handshake">
            <a:extLst>
              <a:ext uri="{FF2B5EF4-FFF2-40B4-BE49-F238E27FC236}">
                <a16:creationId xmlns:a16="http://schemas.microsoft.com/office/drawing/2014/main" id="{C70AECBF-710E-454B-DE2C-488900590A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66779" y="2504975"/>
            <a:ext cx="3053422" cy="305342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8C9CF54-6A2F-B1E7-1E30-194087761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0620" y="833591"/>
            <a:ext cx="3205740" cy="2313745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400">
                <a:solidFill>
                  <a:schemeClr val="tx2"/>
                </a:solidFill>
                <a:latin typeface="Tw Cen MT" panose="020B0602020104020603" pitchFamily="34" charset="77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71864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BDE89610-FC79-7D86-CB28-4C8595753F5F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052823600"/>
              </p:ext>
            </p:extLst>
          </p:nvPr>
        </p:nvGraphicFramePr>
        <p:xfrm>
          <a:off x="582449" y="1806630"/>
          <a:ext cx="11029950" cy="4162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F27364-18FE-B69D-F776-9E8E60A40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402" y="216172"/>
            <a:ext cx="10515600" cy="901661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2"/>
                </a:solidFill>
                <a:latin typeface="Tw Cen MT" panose="020B0602020104020603" pitchFamily="34" charset="77"/>
              </a:rPr>
              <a:t>AGENDA</a:t>
            </a:r>
            <a:endParaRPr lang="en-US" dirty="0">
              <a:solidFill>
                <a:schemeClr val="tx2"/>
              </a:solidFill>
              <a:latin typeface="Tw Cen MT" panose="020B06020201040206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23649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006833-9162-818C-BBBD-1FFEE54C1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80" y="145546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ABOUT CRAIGSLIS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2D70341-04C8-9683-8ABB-7FDB098E7B97}"/>
              </a:ext>
            </a:extLst>
          </p:cNvPr>
          <p:cNvSpPr txBox="1"/>
          <p:nvPr/>
        </p:nvSpPr>
        <p:spPr>
          <a:xfrm>
            <a:off x="698433" y="1436617"/>
            <a:ext cx="10669388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just"/>
            <a:r>
              <a:rPr lang="en-US" sz="240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Craigslist is one of the most well-known websites for classified advertisements on the web. It is a hub or a platform with various interesting sections such as discussion forums, job postings, community service, items wanted, housing, and more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E349BE-31D9-AA0C-AE1B-1A47FCDE0051}"/>
              </a:ext>
            </a:extLst>
          </p:cNvPr>
          <p:cNvSpPr/>
          <p:nvPr/>
        </p:nvSpPr>
        <p:spPr>
          <a:xfrm>
            <a:off x="5794829" y="3461388"/>
            <a:ext cx="2305438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000">
                <a:solidFill>
                  <a:schemeClr val="accent1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80 million </a:t>
            </a:r>
          </a:p>
          <a:p>
            <a:pPr algn="ctr"/>
            <a:r>
              <a:rPr lang="en-US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Ads Posted Monthl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8EA3CC-3145-AEA8-54E6-E89223E0A7DF}"/>
              </a:ext>
            </a:extLst>
          </p:cNvPr>
          <p:cNvSpPr/>
          <p:nvPr/>
        </p:nvSpPr>
        <p:spPr>
          <a:xfrm>
            <a:off x="789002" y="3461388"/>
            <a:ext cx="2584362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000">
                <a:solidFill>
                  <a:schemeClr val="accent1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~$1 billion </a:t>
            </a:r>
          </a:p>
          <a:p>
            <a:pPr algn="ctr"/>
            <a:r>
              <a:rPr lang="en-US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Annual Revenu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BE3FE14-3C85-D4F3-C7DD-4860ADA90CB7}"/>
              </a:ext>
            </a:extLst>
          </p:cNvPr>
          <p:cNvSpPr/>
          <p:nvPr/>
        </p:nvSpPr>
        <p:spPr>
          <a:xfrm>
            <a:off x="5794829" y="5079417"/>
            <a:ext cx="2305438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000">
                <a:solidFill>
                  <a:schemeClr val="accent1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60 million </a:t>
            </a:r>
          </a:p>
          <a:p>
            <a:pPr algn="ctr"/>
            <a:r>
              <a:rPr lang="en-US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Use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837018A-8ECC-79B1-C9CF-F29F01906202}"/>
              </a:ext>
            </a:extLst>
          </p:cNvPr>
          <p:cNvSpPr/>
          <p:nvPr/>
        </p:nvSpPr>
        <p:spPr>
          <a:xfrm>
            <a:off x="1240210" y="5055496"/>
            <a:ext cx="2233304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000">
                <a:solidFill>
                  <a:schemeClr val="accent1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$3 billion</a:t>
            </a:r>
            <a:r>
              <a:rPr lang="en-US" sz="3600">
                <a:solidFill>
                  <a:schemeClr val="accent1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en-US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Valu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7FE33-44DE-089C-19EE-C2A291D5EF28}"/>
              </a:ext>
            </a:extLst>
          </p:cNvPr>
          <p:cNvSpPr/>
          <p:nvPr/>
        </p:nvSpPr>
        <p:spPr>
          <a:xfrm>
            <a:off x="3992888" y="5072952"/>
            <a:ext cx="1083950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000">
                <a:solidFill>
                  <a:schemeClr val="accent1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70</a:t>
            </a:r>
            <a:endParaRPr lang="en-US" sz="3600">
              <a:solidFill>
                <a:schemeClr val="accent1"/>
              </a:solidFill>
              <a:latin typeface="Tw Cen MT" panose="020B0602020104020603" pitchFamily="34" charset="77"/>
              <a:cs typeface="Segoe UI" panose="020B0502040204020203" pitchFamily="34" charset="0"/>
            </a:endParaRPr>
          </a:p>
          <a:p>
            <a:pPr algn="ctr"/>
            <a:r>
              <a:rPr lang="en-US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Countri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344660-1D8D-A154-47BB-A3BF8751681E}"/>
              </a:ext>
            </a:extLst>
          </p:cNvPr>
          <p:cNvSpPr/>
          <p:nvPr/>
        </p:nvSpPr>
        <p:spPr>
          <a:xfrm>
            <a:off x="3722782" y="3429000"/>
            <a:ext cx="1367682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000">
                <a:solidFill>
                  <a:schemeClr val="accent1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&gt;700</a:t>
            </a:r>
            <a:endParaRPr lang="en-US" sz="3600">
              <a:solidFill>
                <a:schemeClr val="accent1"/>
              </a:solidFill>
              <a:latin typeface="Tw Cen MT" panose="020B0602020104020603" pitchFamily="34" charset="77"/>
              <a:cs typeface="Segoe UI" panose="020B0502040204020203" pitchFamily="34" charset="0"/>
            </a:endParaRPr>
          </a:p>
          <a:p>
            <a:pPr algn="ctr"/>
            <a:r>
              <a:rPr lang="en-US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Local Sit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0B625D1-EE8F-9116-EB4F-81FFCD168EEE}"/>
              </a:ext>
            </a:extLst>
          </p:cNvPr>
          <p:cNvSpPr/>
          <p:nvPr/>
        </p:nvSpPr>
        <p:spPr>
          <a:xfrm>
            <a:off x="8541868" y="3474891"/>
            <a:ext cx="2844048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000">
                <a:solidFill>
                  <a:schemeClr val="accent1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250.6 million</a:t>
            </a:r>
          </a:p>
          <a:p>
            <a:pPr algn="ctr"/>
            <a:r>
              <a:rPr lang="en-US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Visits Every Month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4ADFB7-8B4E-0837-20FA-E1E3CA09E10E}"/>
              </a:ext>
            </a:extLst>
          </p:cNvPr>
          <p:cNvSpPr/>
          <p:nvPr/>
        </p:nvSpPr>
        <p:spPr>
          <a:xfrm>
            <a:off x="9008223" y="5002086"/>
            <a:ext cx="1776127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000">
                <a:solidFill>
                  <a:schemeClr val="accent1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76%</a:t>
            </a:r>
          </a:p>
          <a:p>
            <a:pPr algn="ctr"/>
            <a:r>
              <a:rPr lang="en-US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Traffic from USA</a:t>
            </a:r>
          </a:p>
        </p:txBody>
      </p:sp>
    </p:spTree>
    <p:extLst>
      <p:ext uri="{BB962C8B-B14F-4D97-AF65-F5344CB8AC3E}">
        <p14:creationId xmlns:p14="http://schemas.microsoft.com/office/powerpoint/2010/main" val="38355026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03E8840A-A04A-14E4-DA45-5C43A65B475B}"/>
              </a:ext>
            </a:extLst>
          </p:cNvPr>
          <p:cNvSpPr/>
          <p:nvPr/>
        </p:nvSpPr>
        <p:spPr>
          <a:xfrm>
            <a:off x="5191595" y="1"/>
            <a:ext cx="7000405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C6E725-3297-99D3-5CAF-9D12AC7D48F8}"/>
              </a:ext>
            </a:extLst>
          </p:cNvPr>
          <p:cNvSpPr txBox="1"/>
          <p:nvPr/>
        </p:nvSpPr>
        <p:spPr>
          <a:xfrm rot="16200000">
            <a:off x="-400555" y="2079887"/>
            <a:ext cx="14532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OVERVIEW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A795756-33C2-D45D-D528-63C530CE4A28}"/>
              </a:ext>
            </a:extLst>
          </p:cNvPr>
          <p:cNvSpPr txBox="1"/>
          <p:nvPr/>
        </p:nvSpPr>
        <p:spPr>
          <a:xfrm rot="16200000">
            <a:off x="4938575" y="1674776"/>
            <a:ext cx="12108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FINDING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68AD43F-A9E6-ED0F-89C3-2D591879AC74}"/>
              </a:ext>
            </a:extLst>
          </p:cNvPr>
          <p:cNvSpPr txBox="1"/>
          <p:nvPr/>
        </p:nvSpPr>
        <p:spPr>
          <a:xfrm rot="16200000">
            <a:off x="4535191" y="4778092"/>
            <a:ext cx="20288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RECOMMENDATION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FB89BAE-58D3-A0D4-2411-39576ECB5391}"/>
              </a:ext>
            </a:extLst>
          </p:cNvPr>
          <p:cNvSpPr txBox="1"/>
          <p:nvPr/>
        </p:nvSpPr>
        <p:spPr>
          <a:xfrm rot="16200000">
            <a:off x="-313810" y="5020312"/>
            <a:ext cx="12108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OUTCOMES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F0F91F1-4D18-F537-6785-4362D09D0A42}"/>
              </a:ext>
            </a:extLst>
          </p:cNvPr>
          <p:cNvCxnSpPr>
            <a:cxnSpLocks/>
          </p:cNvCxnSpPr>
          <p:nvPr/>
        </p:nvCxnSpPr>
        <p:spPr>
          <a:xfrm>
            <a:off x="5719530" y="1058962"/>
            <a:ext cx="0" cy="195692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8FDBC96-2C48-A723-9062-6F1EA1EB16DD}"/>
              </a:ext>
            </a:extLst>
          </p:cNvPr>
          <p:cNvCxnSpPr>
            <a:cxnSpLocks/>
          </p:cNvCxnSpPr>
          <p:nvPr/>
        </p:nvCxnSpPr>
        <p:spPr>
          <a:xfrm>
            <a:off x="455790" y="1763671"/>
            <a:ext cx="0" cy="121211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4D0C011-246C-CF17-241C-A43489B7D092}"/>
              </a:ext>
            </a:extLst>
          </p:cNvPr>
          <p:cNvCxnSpPr>
            <a:cxnSpLocks/>
          </p:cNvCxnSpPr>
          <p:nvPr/>
        </p:nvCxnSpPr>
        <p:spPr>
          <a:xfrm>
            <a:off x="416361" y="4474384"/>
            <a:ext cx="0" cy="156797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3C9578F-5813-EEC2-CEC4-598BE6875F48}"/>
              </a:ext>
            </a:extLst>
          </p:cNvPr>
          <p:cNvSpPr/>
          <p:nvPr/>
        </p:nvSpPr>
        <p:spPr>
          <a:xfrm>
            <a:off x="483827" y="1611904"/>
            <a:ext cx="2528149" cy="1694327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Categorizing posts from catchall sections to their respective categorie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0C8FA4D-6819-3063-C090-0E711ECD847E}"/>
              </a:ext>
            </a:extLst>
          </p:cNvPr>
          <p:cNvSpPr/>
          <p:nvPr/>
        </p:nvSpPr>
        <p:spPr>
          <a:xfrm>
            <a:off x="649618" y="3992801"/>
            <a:ext cx="3507992" cy="239357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Calibri"/>
                <a:cs typeface="Segoe UI"/>
              </a:rPr>
              <a:t>Reduced Mis-categorization</a:t>
            </a:r>
          </a:p>
          <a:p>
            <a:pPr marL="285750" indent="-285750">
              <a:buFont typeface="Arial"/>
              <a:buChar char="•"/>
            </a:pPr>
            <a:endParaRPr lang="en-US" sz="1600" b="1" dirty="0">
              <a:solidFill>
                <a:schemeClr val="accent1">
                  <a:lumMod val="50000"/>
                </a:schemeClr>
              </a:solidFill>
              <a:latin typeface="Calibri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+mn-lt"/>
                <a:cs typeface="+mn-lt"/>
              </a:rPr>
              <a:t>Reduced Manual Work</a:t>
            </a:r>
            <a:endParaRPr lang="en-US" sz="1600" dirty="0">
              <a:solidFill>
                <a:schemeClr val="accent1">
                  <a:lumMod val="50000"/>
                </a:schemeClr>
              </a:solidFill>
              <a:latin typeface="Calibri"/>
              <a:cs typeface="Calibri Light"/>
            </a:endParaRPr>
          </a:p>
          <a:p>
            <a:pPr marL="285750" indent="-285750">
              <a:buFont typeface="Arial"/>
              <a:buChar char="•"/>
            </a:pPr>
            <a:endParaRPr lang="en-US" sz="1600" b="1" dirty="0">
              <a:solidFill>
                <a:schemeClr val="accent1">
                  <a:lumMod val="50000"/>
                </a:schemeClr>
              </a:solidFill>
              <a:latin typeface="Calibri"/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+mn-lt"/>
                <a:cs typeface="+mn-lt"/>
              </a:rPr>
              <a:t>Better User Experience</a:t>
            </a:r>
            <a:endParaRPr lang="en-US" sz="1600" dirty="0">
              <a:solidFill>
                <a:schemeClr val="accent1">
                  <a:lumMod val="50000"/>
                </a:schemeClr>
              </a:solidFill>
              <a:latin typeface="Calibri"/>
              <a:cs typeface="Calibri Light"/>
            </a:endParaRPr>
          </a:p>
          <a:p>
            <a:pPr marL="285750" indent="-285750">
              <a:buFont typeface="Arial"/>
              <a:buChar char="•"/>
            </a:pPr>
            <a:endParaRPr lang="en-US" sz="1600" b="1" dirty="0">
              <a:solidFill>
                <a:schemeClr val="accent1">
                  <a:lumMod val="50000"/>
                </a:schemeClr>
              </a:solidFill>
              <a:latin typeface="Calibri"/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+mn-lt"/>
                <a:cs typeface="+mn-lt"/>
              </a:rPr>
              <a:t>Customer Retention</a:t>
            </a:r>
            <a:endParaRPr lang="en-US" sz="1600" dirty="0">
              <a:solidFill>
                <a:schemeClr val="accent1">
                  <a:lumMod val="50000"/>
                </a:schemeClr>
              </a:solidFill>
              <a:latin typeface="Calibri"/>
              <a:cs typeface="Calibri Ligh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9F0C898-2739-F242-AD71-C3D090BEA470}"/>
              </a:ext>
            </a:extLst>
          </p:cNvPr>
          <p:cNvSpPr/>
          <p:nvPr/>
        </p:nvSpPr>
        <p:spPr>
          <a:xfrm>
            <a:off x="6316452" y="3380961"/>
            <a:ext cx="5052961" cy="2925753"/>
          </a:xfrm>
          <a:prstGeom prst="roundRect">
            <a:avLst/>
          </a:prstGeom>
          <a:solidFill>
            <a:schemeClr val="lt1">
              <a:alpha val="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 algn="just">
              <a:buFont typeface="Arial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+mn-lt"/>
                <a:cs typeface="+mn-lt"/>
              </a:rPr>
              <a:t>Expand the model to cater to more categories.</a:t>
            </a:r>
          </a:p>
          <a:p>
            <a:pPr marL="285750" indent="-285750" algn="just">
              <a:buFont typeface="Arial"/>
              <a:buChar char="•"/>
            </a:pPr>
            <a:endParaRPr lang="en-US" sz="1600" b="1" dirty="0">
              <a:solidFill>
                <a:schemeClr val="accent1">
                  <a:lumMod val="50000"/>
                </a:schemeClr>
              </a:solidFill>
              <a:latin typeface="Calibri"/>
              <a:ea typeface="+mn-lt"/>
              <a:cs typeface="+mn-lt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+mn-lt"/>
                <a:cs typeface="+mn-lt"/>
              </a:rPr>
              <a:t>Conduct grid search or hyperparameter tuning to find the best parameters suited to our model.</a:t>
            </a:r>
          </a:p>
          <a:p>
            <a:pPr marL="285750" indent="-285750" algn="just">
              <a:buFont typeface="Arial"/>
              <a:buChar char="•"/>
            </a:pPr>
            <a:endParaRPr lang="en-US" sz="1600" b="1" dirty="0">
              <a:solidFill>
                <a:schemeClr val="accent1">
                  <a:lumMod val="50000"/>
                </a:schemeClr>
              </a:solidFill>
              <a:latin typeface="Calibri"/>
              <a:ea typeface="+mn-lt"/>
              <a:cs typeface="+mn-lt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+mn-lt"/>
                <a:cs typeface="+mn-lt"/>
              </a:rPr>
              <a:t>Incorporate image processing for better predictions.</a:t>
            </a:r>
          </a:p>
          <a:p>
            <a:pPr marL="285750" indent="-285750" algn="just">
              <a:buFont typeface="Arial"/>
              <a:buChar char="•"/>
            </a:pPr>
            <a:endParaRPr lang="en-US" sz="1600" b="1" dirty="0">
              <a:solidFill>
                <a:schemeClr val="accent1">
                  <a:lumMod val="50000"/>
                </a:schemeClr>
              </a:solidFill>
              <a:latin typeface="Calibri"/>
              <a:ea typeface="+mn-lt"/>
              <a:cs typeface="+mn-lt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Calibri"/>
                <a:ea typeface="+mn-lt"/>
                <a:cs typeface="+mn-lt"/>
              </a:rPr>
              <a:t>Improve the model to predict other subcategories by implementing external data in our model.</a:t>
            </a:r>
          </a:p>
          <a:p>
            <a:pPr marL="285750" indent="-285750" algn="just">
              <a:buFont typeface="Arial"/>
              <a:buChar char="•"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4B4DAE1-BE49-063A-0772-981C22459107}"/>
              </a:ext>
            </a:extLst>
          </p:cNvPr>
          <p:cNvSpPr/>
          <p:nvPr/>
        </p:nvSpPr>
        <p:spPr>
          <a:xfrm>
            <a:off x="6437081" y="1433128"/>
            <a:ext cx="5052961" cy="983240"/>
          </a:xfrm>
          <a:prstGeom prst="roundRect">
            <a:avLst/>
          </a:prstGeom>
          <a:solidFill>
            <a:schemeClr val="lt1">
              <a:alpha val="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just"/>
            <a:endParaRPr lang="en-US" sz="1600" dirty="0">
              <a:solidFill>
                <a:schemeClr val="accent1">
                  <a:lumMod val="50000"/>
                </a:schemeClr>
              </a:solidFill>
              <a:cs typeface="Calibri"/>
            </a:endParaRPr>
          </a:p>
          <a:p>
            <a:pPr algn="just"/>
            <a:endParaRPr lang="en-US" sz="1600" dirty="0">
              <a:solidFill>
                <a:schemeClr val="accent1">
                  <a:lumMod val="50000"/>
                </a:schemeClr>
              </a:solidFill>
              <a:cs typeface="Calibri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Smote technique to handle imbalanced data</a:t>
            </a:r>
          </a:p>
          <a:p>
            <a:pPr marL="285750" indent="-285750" algn="just">
              <a:buFont typeface="Arial"/>
              <a:buChar char="•"/>
            </a:pPr>
            <a:endParaRPr lang="en-US" sz="1600" b="1" dirty="0">
              <a:solidFill>
                <a:schemeClr val="accent1">
                  <a:lumMod val="50000"/>
                </a:schemeClr>
              </a:solidFill>
              <a:cs typeface="Calibri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Precision and recall from confusion matrix</a:t>
            </a:r>
            <a:endParaRPr lang="en-US" sz="1600" dirty="0">
              <a:solidFill>
                <a:schemeClr val="accent1">
                  <a:lumMod val="50000"/>
                </a:schemeClr>
              </a:solidFill>
              <a:cs typeface="Calibri"/>
            </a:endParaRPr>
          </a:p>
          <a:p>
            <a:pPr algn="just"/>
            <a:endParaRPr lang="en-US" sz="1600" dirty="0">
              <a:solidFill>
                <a:schemeClr val="accent1">
                  <a:lumMod val="50000"/>
                </a:schemeClr>
              </a:solidFill>
              <a:cs typeface="Calibri"/>
            </a:endParaRPr>
          </a:p>
          <a:p>
            <a:pPr algn="just"/>
            <a:endParaRPr lang="en-US" sz="1600" dirty="0">
              <a:solidFill>
                <a:schemeClr val="accent1">
                  <a:lumMod val="50000"/>
                </a:schemeClr>
              </a:solidFill>
              <a:cs typeface="Calibri"/>
            </a:endParaRPr>
          </a:p>
          <a:p>
            <a:pPr algn="just"/>
            <a:endParaRPr lang="en-US" sz="1600" dirty="0">
              <a:solidFill>
                <a:schemeClr val="accent1">
                  <a:lumMod val="50000"/>
                </a:schemeClr>
              </a:solidFill>
              <a:cs typeface="Calibri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50C8F5A-C725-2FB7-7E90-10D3C007B428}"/>
              </a:ext>
            </a:extLst>
          </p:cNvPr>
          <p:cNvSpPr/>
          <p:nvPr/>
        </p:nvSpPr>
        <p:spPr>
          <a:xfrm>
            <a:off x="7554349" y="334542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94C65C4-70D0-095B-B776-592909DEBDE3}"/>
              </a:ext>
            </a:extLst>
          </p:cNvPr>
          <p:cNvSpPr/>
          <p:nvPr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43E0032-D1F9-5C39-B3E7-EA3AED7B5CE3}"/>
              </a:ext>
            </a:extLst>
          </p:cNvPr>
          <p:cNvSpPr txBox="1">
            <a:spLocks/>
          </p:cNvSpPr>
          <p:nvPr/>
        </p:nvSpPr>
        <p:spPr>
          <a:xfrm>
            <a:off x="701161" y="-23008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EXECUTIVE SUMMAR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7CA1873-3C02-E031-3481-17DD2D97D9F5}"/>
              </a:ext>
            </a:extLst>
          </p:cNvPr>
          <p:cNvSpPr txBox="1"/>
          <p:nvPr/>
        </p:nvSpPr>
        <p:spPr>
          <a:xfrm>
            <a:off x="3615630" y="1527434"/>
            <a:ext cx="1146093" cy="4431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n-IN" sz="1600" b="1" dirty="0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Lost Opportunit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F9E9E1D-8CB0-D1DD-0A10-943322743869}"/>
              </a:ext>
            </a:extLst>
          </p:cNvPr>
          <p:cNvSpPr txBox="1"/>
          <p:nvPr/>
        </p:nvSpPr>
        <p:spPr>
          <a:xfrm>
            <a:off x="3536066" y="2149464"/>
            <a:ext cx="1518674" cy="4431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n-IN" sz="1600" b="1" dirty="0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Poor Customer Experienc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496C850-F4BC-38C7-A311-9FA12E4CA016}"/>
              </a:ext>
            </a:extLst>
          </p:cNvPr>
          <p:cNvSpPr txBox="1"/>
          <p:nvPr/>
        </p:nvSpPr>
        <p:spPr>
          <a:xfrm>
            <a:off x="3557652" y="2705093"/>
            <a:ext cx="1281711" cy="6647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n-IN" sz="1600" b="1" dirty="0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Manual Labour &amp; added cost of moderator</a:t>
            </a:r>
          </a:p>
        </p:txBody>
      </p:sp>
      <p:pic>
        <p:nvPicPr>
          <p:cNvPr id="23" name="Graphic 22" descr="Target Audience with solid fill">
            <a:extLst>
              <a:ext uri="{FF2B5EF4-FFF2-40B4-BE49-F238E27FC236}">
                <a16:creationId xmlns:a16="http://schemas.microsoft.com/office/drawing/2014/main" id="{99F14CBF-84B9-345C-481E-3272EEAF5C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885444" y="2033997"/>
            <a:ext cx="659989" cy="659989"/>
          </a:xfrm>
          <a:prstGeom prst="rect">
            <a:avLst/>
          </a:prstGeom>
        </p:spPr>
      </p:pic>
      <p:pic>
        <p:nvPicPr>
          <p:cNvPr id="24" name="Graphic 23" descr="Bar graph with downward trend with solid fill">
            <a:extLst>
              <a:ext uri="{FF2B5EF4-FFF2-40B4-BE49-F238E27FC236}">
                <a16:creationId xmlns:a16="http://schemas.microsoft.com/office/drawing/2014/main" id="{34B8ED00-E1AB-031A-59BF-4A0F841908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34188" y="1491394"/>
            <a:ext cx="546538" cy="546538"/>
          </a:xfrm>
          <a:prstGeom prst="rect">
            <a:avLst/>
          </a:prstGeom>
        </p:spPr>
      </p:pic>
      <p:pic>
        <p:nvPicPr>
          <p:cNvPr id="25" name="Graphic 24" descr="Labor with solid fill">
            <a:extLst>
              <a:ext uri="{FF2B5EF4-FFF2-40B4-BE49-F238E27FC236}">
                <a16:creationId xmlns:a16="http://schemas.microsoft.com/office/drawing/2014/main" id="{484FD740-A19D-1E57-825E-496C836633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33859" y="2680374"/>
            <a:ext cx="530037" cy="530037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BE2CCE2-E7B6-CF81-3F6C-D4E24694AE1F}"/>
              </a:ext>
            </a:extLst>
          </p:cNvPr>
          <p:cNvCxnSpPr>
            <a:cxnSpLocks/>
          </p:cNvCxnSpPr>
          <p:nvPr/>
        </p:nvCxnSpPr>
        <p:spPr>
          <a:xfrm>
            <a:off x="5713270" y="3606800"/>
            <a:ext cx="0" cy="271331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8468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4FD90C-DF26-166D-D666-836BC7171A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83516" y="2838558"/>
            <a:ext cx="6595986" cy="1475013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400" dirty="0">
                <a:solidFill>
                  <a:schemeClr val="tx2"/>
                </a:solidFill>
                <a:latin typeface="Tw Cen MT" panose="020B0602020104020603" pitchFamily="34" charset="77"/>
              </a:rPr>
              <a:t>BUSINESS PROBLEM &amp; SCOPE </a:t>
            </a:r>
          </a:p>
        </p:txBody>
      </p:sp>
      <p:pic>
        <p:nvPicPr>
          <p:cNvPr id="33" name="Graphic 8" descr="Lightbulb">
            <a:extLst>
              <a:ext uri="{FF2B5EF4-FFF2-40B4-BE49-F238E27FC236}">
                <a16:creationId xmlns:a16="http://schemas.microsoft.com/office/drawing/2014/main" id="{B8FD4FCC-DC31-257E-6C02-72FA7D1AD3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4700" y="2049354"/>
            <a:ext cx="3053422" cy="305342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0405E1D-79AA-212C-0AC0-2DD7AFC407DD}"/>
              </a:ext>
            </a:extLst>
          </p:cNvPr>
          <p:cNvSpPr/>
          <p:nvPr/>
        </p:nvSpPr>
        <p:spPr>
          <a:xfrm>
            <a:off x="7404577" y="334650"/>
            <a:ext cx="4035736" cy="45719"/>
          </a:xfrm>
          <a:custGeom>
            <a:avLst/>
            <a:gdLst>
              <a:gd name="connsiteX0" fmla="*/ 0 w 4035736"/>
              <a:gd name="connsiteY0" fmla="*/ 0 h 45719"/>
              <a:gd name="connsiteX1" fmla="*/ 551551 w 4035736"/>
              <a:gd name="connsiteY1" fmla="*/ 0 h 45719"/>
              <a:gd name="connsiteX2" fmla="*/ 1224173 w 4035736"/>
              <a:gd name="connsiteY2" fmla="*/ 0 h 45719"/>
              <a:gd name="connsiteX3" fmla="*/ 1816081 w 4035736"/>
              <a:gd name="connsiteY3" fmla="*/ 0 h 45719"/>
              <a:gd name="connsiteX4" fmla="*/ 2529061 w 4035736"/>
              <a:gd name="connsiteY4" fmla="*/ 0 h 45719"/>
              <a:gd name="connsiteX5" fmla="*/ 3242041 w 4035736"/>
              <a:gd name="connsiteY5" fmla="*/ 0 h 45719"/>
              <a:gd name="connsiteX6" fmla="*/ 4035736 w 4035736"/>
              <a:gd name="connsiteY6" fmla="*/ 0 h 45719"/>
              <a:gd name="connsiteX7" fmla="*/ 4035736 w 4035736"/>
              <a:gd name="connsiteY7" fmla="*/ 45719 h 45719"/>
              <a:gd name="connsiteX8" fmla="*/ 3282399 w 4035736"/>
              <a:gd name="connsiteY8" fmla="*/ 45719 h 45719"/>
              <a:gd name="connsiteX9" fmla="*/ 2650133 w 4035736"/>
              <a:gd name="connsiteY9" fmla="*/ 45719 h 45719"/>
              <a:gd name="connsiteX10" fmla="*/ 2017868 w 4035736"/>
              <a:gd name="connsiteY10" fmla="*/ 45719 h 45719"/>
              <a:gd name="connsiteX11" fmla="*/ 1345245 w 4035736"/>
              <a:gd name="connsiteY11" fmla="*/ 45719 h 45719"/>
              <a:gd name="connsiteX12" fmla="*/ 672623 w 4035736"/>
              <a:gd name="connsiteY12" fmla="*/ 45719 h 45719"/>
              <a:gd name="connsiteX13" fmla="*/ 0 w 4035736"/>
              <a:gd name="connsiteY13" fmla="*/ 45719 h 45719"/>
              <a:gd name="connsiteX14" fmla="*/ 0 w 4035736"/>
              <a:gd name="connsiteY1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5736" h="45719" fill="none" extrusionOk="0">
                <a:moveTo>
                  <a:pt x="0" y="0"/>
                </a:moveTo>
                <a:cubicBezTo>
                  <a:pt x="110364" y="-18970"/>
                  <a:pt x="346240" y="-17470"/>
                  <a:pt x="551551" y="0"/>
                </a:cubicBezTo>
                <a:cubicBezTo>
                  <a:pt x="756862" y="17470"/>
                  <a:pt x="996648" y="-6035"/>
                  <a:pt x="1224173" y="0"/>
                </a:cubicBezTo>
                <a:cubicBezTo>
                  <a:pt x="1451698" y="6035"/>
                  <a:pt x="1580014" y="4891"/>
                  <a:pt x="1816081" y="0"/>
                </a:cubicBezTo>
                <a:cubicBezTo>
                  <a:pt x="2052148" y="-4891"/>
                  <a:pt x="2241700" y="-3917"/>
                  <a:pt x="2529061" y="0"/>
                </a:cubicBezTo>
                <a:cubicBezTo>
                  <a:pt x="2816422" y="3917"/>
                  <a:pt x="2965692" y="-752"/>
                  <a:pt x="3242041" y="0"/>
                </a:cubicBezTo>
                <a:cubicBezTo>
                  <a:pt x="3518390" y="752"/>
                  <a:pt x="3649819" y="-16808"/>
                  <a:pt x="4035736" y="0"/>
                </a:cubicBezTo>
                <a:cubicBezTo>
                  <a:pt x="4037857" y="18108"/>
                  <a:pt x="4035707" y="23326"/>
                  <a:pt x="4035736" y="45719"/>
                </a:cubicBezTo>
                <a:cubicBezTo>
                  <a:pt x="3840784" y="22037"/>
                  <a:pt x="3654856" y="79604"/>
                  <a:pt x="3282399" y="45719"/>
                </a:cubicBezTo>
                <a:cubicBezTo>
                  <a:pt x="2909942" y="11834"/>
                  <a:pt x="2849954" y="75545"/>
                  <a:pt x="2650133" y="45719"/>
                </a:cubicBezTo>
                <a:cubicBezTo>
                  <a:pt x="2450312" y="15893"/>
                  <a:pt x="2170187" y="58474"/>
                  <a:pt x="2017868" y="45719"/>
                </a:cubicBezTo>
                <a:cubicBezTo>
                  <a:pt x="1865549" y="32964"/>
                  <a:pt x="1550809" y="39066"/>
                  <a:pt x="1345245" y="45719"/>
                </a:cubicBezTo>
                <a:cubicBezTo>
                  <a:pt x="1139681" y="52372"/>
                  <a:pt x="828533" y="15796"/>
                  <a:pt x="672623" y="45719"/>
                </a:cubicBezTo>
                <a:cubicBezTo>
                  <a:pt x="516713" y="75642"/>
                  <a:pt x="245008" y="19898"/>
                  <a:pt x="0" y="45719"/>
                </a:cubicBezTo>
                <a:cubicBezTo>
                  <a:pt x="-735" y="30342"/>
                  <a:pt x="-343" y="12199"/>
                  <a:pt x="0" y="0"/>
                </a:cubicBezTo>
                <a:close/>
              </a:path>
              <a:path w="4035736" h="45719" stroke="0" extrusionOk="0">
                <a:moveTo>
                  <a:pt x="0" y="0"/>
                </a:moveTo>
                <a:cubicBezTo>
                  <a:pt x="191965" y="-15328"/>
                  <a:pt x="375911" y="26243"/>
                  <a:pt x="551551" y="0"/>
                </a:cubicBezTo>
                <a:cubicBezTo>
                  <a:pt x="727191" y="-26243"/>
                  <a:pt x="1014710" y="-9632"/>
                  <a:pt x="1264531" y="0"/>
                </a:cubicBezTo>
                <a:cubicBezTo>
                  <a:pt x="1514352" y="9632"/>
                  <a:pt x="1643426" y="-27567"/>
                  <a:pt x="2017868" y="0"/>
                </a:cubicBezTo>
                <a:cubicBezTo>
                  <a:pt x="2392310" y="27567"/>
                  <a:pt x="2355129" y="-3704"/>
                  <a:pt x="2650133" y="0"/>
                </a:cubicBezTo>
                <a:cubicBezTo>
                  <a:pt x="2945138" y="3704"/>
                  <a:pt x="3164469" y="-35466"/>
                  <a:pt x="3403471" y="0"/>
                </a:cubicBezTo>
                <a:cubicBezTo>
                  <a:pt x="3642473" y="35466"/>
                  <a:pt x="3884216" y="8759"/>
                  <a:pt x="4035736" y="0"/>
                </a:cubicBezTo>
                <a:cubicBezTo>
                  <a:pt x="4035947" y="12289"/>
                  <a:pt x="4036590" y="36573"/>
                  <a:pt x="4035736" y="45719"/>
                </a:cubicBezTo>
                <a:cubicBezTo>
                  <a:pt x="3796145" y="77349"/>
                  <a:pt x="3506355" y="54507"/>
                  <a:pt x="3322756" y="45719"/>
                </a:cubicBezTo>
                <a:cubicBezTo>
                  <a:pt x="3139157" y="36931"/>
                  <a:pt x="2856369" y="16618"/>
                  <a:pt x="2730848" y="45719"/>
                </a:cubicBezTo>
                <a:cubicBezTo>
                  <a:pt x="2605327" y="74820"/>
                  <a:pt x="2277287" y="62998"/>
                  <a:pt x="2017868" y="45719"/>
                </a:cubicBezTo>
                <a:cubicBezTo>
                  <a:pt x="1758449" y="28440"/>
                  <a:pt x="1608955" y="53521"/>
                  <a:pt x="1466317" y="45719"/>
                </a:cubicBezTo>
                <a:cubicBezTo>
                  <a:pt x="1323679" y="37917"/>
                  <a:pt x="1010774" y="34482"/>
                  <a:pt x="793695" y="45719"/>
                </a:cubicBezTo>
                <a:cubicBezTo>
                  <a:pt x="576616" y="56956"/>
                  <a:pt x="340560" y="44060"/>
                  <a:pt x="0" y="45719"/>
                </a:cubicBezTo>
                <a:cubicBezTo>
                  <a:pt x="1475" y="34591"/>
                  <a:pt x="43" y="21345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188076289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03BD62-FC38-F150-4E64-0E0036E5E961}"/>
              </a:ext>
            </a:extLst>
          </p:cNvPr>
          <p:cNvSpPr/>
          <p:nvPr/>
        </p:nvSpPr>
        <p:spPr>
          <a:xfrm>
            <a:off x="581192" y="334650"/>
            <a:ext cx="6709070" cy="457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8928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92B40B-3CC9-96B8-604B-EB500382B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718" y="12451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BUSINESS PROBLE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AC82EF1-CFFC-53A9-E648-78213FB6F7E0}"/>
              </a:ext>
            </a:extLst>
          </p:cNvPr>
          <p:cNvSpPr txBox="1"/>
          <p:nvPr/>
        </p:nvSpPr>
        <p:spPr>
          <a:xfrm>
            <a:off x="581192" y="1448581"/>
            <a:ext cx="1117433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40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Uncategorized posts or posts being put in vague categories. For </a:t>
            </a:r>
            <a:r>
              <a:rPr lang="en-US" sz="2400" err="1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eg</a:t>
            </a:r>
            <a:r>
              <a:rPr lang="en-US" sz="240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, a category called ‘General’ exists in sales, which is a catchall for posts not being tagged in other categories – Hence, users are missing out on relevant post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866780-887F-E6AE-E2D9-6513A325FFE2}"/>
              </a:ext>
            </a:extLst>
          </p:cNvPr>
          <p:cNvSpPr txBox="1"/>
          <p:nvPr/>
        </p:nvSpPr>
        <p:spPr>
          <a:xfrm>
            <a:off x="2203634" y="5629851"/>
            <a:ext cx="1735975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n-IN" sz="1600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Lost Opportun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28699A-ACB7-6512-F83E-0C3FE7F8C5CE}"/>
              </a:ext>
            </a:extLst>
          </p:cNvPr>
          <p:cNvSpPr txBox="1"/>
          <p:nvPr/>
        </p:nvSpPr>
        <p:spPr>
          <a:xfrm>
            <a:off x="4994655" y="5618632"/>
            <a:ext cx="2507869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n-IN" sz="1600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Poor Customer Experie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ED2E987-BF95-675D-6531-524193B71318}"/>
              </a:ext>
            </a:extLst>
          </p:cNvPr>
          <p:cNvSpPr txBox="1"/>
          <p:nvPr/>
        </p:nvSpPr>
        <p:spPr>
          <a:xfrm>
            <a:off x="8460619" y="5477355"/>
            <a:ext cx="1643079" cy="6647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n-IN" sz="1600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Manual Labour &amp; added cost of moderato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09575C-7E87-D7DB-7C28-C95FCD215BE6}"/>
              </a:ext>
            </a:extLst>
          </p:cNvPr>
          <p:cNvSpPr txBox="1"/>
          <p:nvPr/>
        </p:nvSpPr>
        <p:spPr>
          <a:xfrm>
            <a:off x="3787509" y="3018899"/>
            <a:ext cx="1337289" cy="115108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n-US" sz="4000">
                <a:solidFill>
                  <a:schemeClr val="accent1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~2%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n-US" sz="1600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Ads In General 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n-US" sz="1600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belong to Cars*</a:t>
            </a:r>
          </a:p>
        </p:txBody>
      </p:sp>
      <p:pic>
        <p:nvPicPr>
          <p:cNvPr id="19" name="Graphic 18" descr="Target Audience with solid fill">
            <a:extLst>
              <a:ext uri="{FF2B5EF4-FFF2-40B4-BE49-F238E27FC236}">
                <a16:creationId xmlns:a16="http://schemas.microsoft.com/office/drawing/2014/main" id="{7F5521F3-369B-2BA2-3BC0-A07C1CFAE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63275" y="4539973"/>
            <a:ext cx="1089878" cy="1089878"/>
          </a:xfrm>
          <a:prstGeom prst="rect">
            <a:avLst/>
          </a:prstGeom>
        </p:spPr>
      </p:pic>
      <p:pic>
        <p:nvPicPr>
          <p:cNvPr id="21" name="Graphic 20" descr="Bar graph with downward trend with solid fill">
            <a:extLst>
              <a:ext uri="{FF2B5EF4-FFF2-40B4-BE49-F238E27FC236}">
                <a16:creationId xmlns:a16="http://schemas.microsoft.com/office/drawing/2014/main" id="{0EBA417A-4818-555C-2810-A74F59D41C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88361" y="4763535"/>
            <a:ext cx="827837" cy="827837"/>
          </a:xfrm>
          <a:prstGeom prst="rect">
            <a:avLst/>
          </a:prstGeom>
        </p:spPr>
      </p:pic>
      <p:pic>
        <p:nvPicPr>
          <p:cNvPr id="23" name="Graphic 22" descr="Labor with solid fill">
            <a:extLst>
              <a:ext uri="{FF2B5EF4-FFF2-40B4-BE49-F238E27FC236}">
                <a16:creationId xmlns:a16="http://schemas.microsoft.com/office/drawing/2014/main" id="{56E7E829-64E4-E89B-417C-39B14DA902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07545" y="4634754"/>
            <a:ext cx="802843" cy="80284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6171591-AA96-7237-D5FA-E6DE75BE41A5}"/>
              </a:ext>
            </a:extLst>
          </p:cNvPr>
          <p:cNvSpPr txBox="1"/>
          <p:nvPr/>
        </p:nvSpPr>
        <p:spPr>
          <a:xfrm>
            <a:off x="6902329" y="3018899"/>
            <a:ext cx="1532471" cy="115108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n-US" sz="4000">
                <a:solidFill>
                  <a:schemeClr val="accent1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~5%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n-US" sz="1600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Ads In General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n-US" sz="1600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belong to Beauty*</a:t>
            </a:r>
          </a:p>
        </p:txBody>
      </p:sp>
      <p:pic>
        <p:nvPicPr>
          <p:cNvPr id="26" name="Graphic 25" descr="Badge Follow with solid fill">
            <a:extLst>
              <a:ext uri="{FF2B5EF4-FFF2-40B4-BE49-F238E27FC236}">
                <a16:creationId xmlns:a16="http://schemas.microsoft.com/office/drawing/2014/main" id="{1B6D03C3-80E2-3E03-486A-639496D6C1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85762" y="3305491"/>
            <a:ext cx="501756" cy="501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68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92B40B-3CC9-96B8-604B-EB500382B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647" y="127382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BUSINESS PROBLEM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2FB217F-2905-05A1-4574-E5DC314863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6429" y="1262356"/>
            <a:ext cx="4761716" cy="498409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D8DD3BA-EA6F-FA7C-3F65-EFB8A05F0E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2084265"/>
            <a:ext cx="5416828" cy="334027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8DDFB0A-898A-46BF-7170-5972DE7FA827}"/>
              </a:ext>
            </a:extLst>
          </p:cNvPr>
          <p:cNvSpPr txBox="1"/>
          <p:nvPr/>
        </p:nvSpPr>
        <p:spPr>
          <a:xfrm>
            <a:off x="2242653" y="5465065"/>
            <a:ext cx="28693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tx2"/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QUALITY OF DATA!</a:t>
            </a:r>
          </a:p>
        </p:txBody>
      </p:sp>
    </p:spTree>
    <p:extLst>
      <p:ext uri="{BB962C8B-B14F-4D97-AF65-F5344CB8AC3E}">
        <p14:creationId xmlns:p14="http://schemas.microsoft.com/office/powerpoint/2010/main" val="9584646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6F2D5216-60E5-49C9-8E14-E4A0E427CFE8}"/>
              </a:ext>
            </a:extLst>
          </p:cNvPr>
          <p:cNvSpPr txBox="1"/>
          <p:nvPr/>
        </p:nvSpPr>
        <p:spPr>
          <a:xfrm>
            <a:off x="1091482" y="3767270"/>
            <a:ext cx="2324889" cy="57554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Seller posts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an advertisemen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9B15B98-7499-42AB-AF3F-AB564CD20213}"/>
              </a:ext>
            </a:extLst>
          </p:cNvPr>
          <p:cNvSpPr txBox="1"/>
          <p:nvPr/>
        </p:nvSpPr>
        <p:spPr>
          <a:xfrm>
            <a:off x="3649925" y="3767270"/>
            <a:ext cx="2324889" cy="4985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User reports post if incorrect category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1B3538E-9815-4F24-BA67-777151ED5D84}"/>
              </a:ext>
            </a:extLst>
          </p:cNvPr>
          <p:cNvSpPr txBox="1"/>
          <p:nvPr/>
        </p:nvSpPr>
        <p:spPr>
          <a:xfrm>
            <a:off x="6228470" y="3767270"/>
            <a:ext cx="2324889" cy="57554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Development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team fix the issu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7F69A7C-CB91-4819-B0DC-83015589B4E9}"/>
              </a:ext>
            </a:extLst>
          </p:cNvPr>
          <p:cNvSpPr txBox="1"/>
          <p:nvPr/>
        </p:nvSpPr>
        <p:spPr>
          <a:xfrm>
            <a:off x="8766946" y="3767270"/>
            <a:ext cx="2324889" cy="57554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Advertisement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Segoe UI" panose="020B0502040204020203" pitchFamily="34" charset="0"/>
              </a:rPr>
              <a:t>is updated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F220349-F280-4263-9D7C-16AE416B0BBB}"/>
              </a:ext>
            </a:extLst>
          </p:cNvPr>
          <p:cNvSpPr txBox="1"/>
          <p:nvPr/>
        </p:nvSpPr>
        <p:spPr>
          <a:xfrm>
            <a:off x="3093292" y="4913012"/>
            <a:ext cx="5897666" cy="42156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252476" tIns="76200" rIns="252476" bIns="76200" rtlCol="0" anchor="ctr" anchorCtr="0">
            <a:no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b="1">
                <a:solidFill>
                  <a:schemeClr val="accent1">
                    <a:lumMod val="50000"/>
                  </a:schemeClr>
                </a:solidFill>
                <a:latin typeface="Tw Cen MT" panose="020B0602020104020603" pitchFamily="34" charset="77"/>
                <a:cs typeface="Arial" pitchFamily="34" charset="0"/>
              </a:rPr>
              <a:t>Identifying Problem after it reached our end user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8693F4-4986-681B-CE2C-1840CDFD903B}"/>
              </a:ext>
            </a:extLst>
          </p:cNvPr>
          <p:cNvSpPr txBox="1">
            <a:spLocks/>
          </p:cNvSpPr>
          <p:nvPr/>
        </p:nvSpPr>
        <p:spPr>
          <a:xfrm>
            <a:off x="617730" y="480613"/>
            <a:ext cx="10956539" cy="632374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600">
                <a:solidFill>
                  <a:schemeClr val="tx2"/>
                </a:solidFill>
                <a:latin typeface="Tw Cen MT" panose="020B0602020104020603" pitchFamily="34" charset="77"/>
              </a:rPr>
              <a:t>How is misclassification handled right now?</a:t>
            </a:r>
          </a:p>
        </p:txBody>
      </p:sp>
      <p:pic>
        <p:nvPicPr>
          <p:cNvPr id="4" name="Graphic 3" descr="Kiosk outline">
            <a:extLst>
              <a:ext uri="{FF2B5EF4-FFF2-40B4-BE49-F238E27FC236}">
                <a16:creationId xmlns:a16="http://schemas.microsoft.com/office/drawing/2014/main" id="{F9421FB6-DB35-39BD-9DE0-DF66F3F171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96726" y="2675648"/>
            <a:ext cx="914400" cy="914400"/>
          </a:xfrm>
          <a:prstGeom prst="rect">
            <a:avLst/>
          </a:prstGeom>
        </p:spPr>
      </p:pic>
      <p:pic>
        <p:nvPicPr>
          <p:cNvPr id="6" name="Graphic 5" descr="Badge Cross outline">
            <a:extLst>
              <a:ext uri="{FF2B5EF4-FFF2-40B4-BE49-F238E27FC236}">
                <a16:creationId xmlns:a16="http://schemas.microsoft.com/office/drawing/2014/main" id="{C985A2C2-BCCF-AC15-1665-BDEF14BA38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55169" y="2633530"/>
            <a:ext cx="914400" cy="914400"/>
          </a:xfrm>
          <a:prstGeom prst="rect">
            <a:avLst/>
          </a:prstGeom>
        </p:spPr>
      </p:pic>
      <p:pic>
        <p:nvPicPr>
          <p:cNvPr id="8" name="Graphic 7" descr="Programmer male with solid fill">
            <a:extLst>
              <a:ext uri="{FF2B5EF4-FFF2-40B4-BE49-F238E27FC236}">
                <a16:creationId xmlns:a16="http://schemas.microsoft.com/office/drawing/2014/main" id="{83F2B9D1-515B-C1CC-7FFA-DE8220B532D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4104" y="2633530"/>
            <a:ext cx="914400" cy="914400"/>
          </a:xfrm>
          <a:prstGeom prst="rect">
            <a:avLst/>
          </a:prstGeom>
        </p:spPr>
      </p:pic>
      <p:pic>
        <p:nvPicPr>
          <p:cNvPr id="10" name="Graphic 9" descr="Badge Tick1 with solid fill">
            <a:extLst>
              <a:ext uri="{FF2B5EF4-FFF2-40B4-BE49-F238E27FC236}">
                <a16:creationId xmlns:a16="http://schemas.microsoft.com/office/drawing/2014/main" id="{6AD93962-A528-C842-8FCE-FDD50760C8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33039" y="2675648"/>
            <a:ext cx="914400" cy="914400"/>
          </a:xfrm>
          <a:prstGeom prst="rect">
            <a:avLst/>
          </a:prstGeom>
        </p:spPr>
      </p:pic>
      <p:pic>
        <p:nvPicPr>
          <p:cNvPr id="12" name="Graphic 11" descr="Arrow: Straight with solid fill">
            <a:extLst>
              <a:ext uri="{FF2B5EF4-FFF2-40B4-BE49-F238E27FC236}">
                <a16:creationId xmlns:a16="http://schemas.microsoft.com/office/drawing/2014/main" id="{BD08606D-F50B-623A-4AD1-338BAFFF22C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0800000">
            <a:off x="3039695" y="2756172"/>
            <a:ext cx="753352" cy="753352"/>
          </a:xfrm>
          <a:prstGeom prst="rect">
            <a:avLst/>
          </a:prstGeom>
        </p:spPr>
      </p:pic>
      <p:pic>
        <p:nvPicPr>
          <p:cNvPr id="13" name="Graphic 12" descr="Arrow: Straight with solid fill">
            <a:extLst>
              <a:ext uri="{FF2B5EF4-FFF2-40B4-BE49-F238E27FC236}">
                <a16:creationId xmlns:a16="http://schemas.microsoft.com/office/drawing/2014/main" id="{10776D1A-DCFF-4760-2DF8-62AF91D421A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0800000">
            <a:off x="5695406" y="2714054"/>
            <a:ext cx="753352" cy="753352"/>
          </a:xfrm>
          <a:prstGeom prst="rect">
            <a:avLst/>
          </a:prstGeom>
        </p:spPr>
      </p:pic>
      <p:pic>
        <p:nvPicPr>
          <p:cNvPr id="14" name="Graphic 13" descr="Arrow: Straight with solid fill">
            <a:extLst>
              <a:ext uri="{FF2B5EF4-FFF2-40B4-BE49-F238E27FC236}">
                <a16:creationId xmlns:a16="http://schemas.microsoft.com/office/drawing/2014/main" id="{65B0078D-23EB-F0A4-AEAE-64C68D2DEF9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0800000">
            <a:off x="8176683" y="2756171"/>
            <a:ext cx="753352" cy="7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7481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Z36gJU1yVdzYHodF1d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tvSeeh30a8AT4cug3Db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39</Words>
  <Application>Microsoft Office PowerPoint</Application>
  <PresentationFormat>Widescreen</PresentationFormat>
  <Paragraphs>197</Paragraphs>
  <Slides>29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9</vt:i4>
      </vt:variant>
    </vt:vector>
  </HeadingPairs>
  <TitlesOfParts>
    <vt:vector size="31" baseType="lpstr">
      <vt:lpstr>Office Theme</vt:lpstr>
      <vt:lpstr>Blank</vt:lpstr>
      <vt:lpstr>AD CLASSIFICATION</vt:lpstr>
      <vt:lpstr>PROJECT EXECUTION TEAM</vt:lpstr>
      <vt:lpstr>AGENDA</vt:lpstr>
      <vt:lpstr>ABOUT CRAIGSLIST</vt:lpstr>
      <vt:lpstr>PowerPoint Presentation</vt:lpstr>
      <vt:lpstr>BUSINESS PROBLEM &amp; SCOPE </vt:lpstr>
      <vt:lpstr>BUSINESS PROBLEM</vt:lpstr>
      <vt:lpstr>BUSINESS PROBLEM</vt:lpstr>
      <vt:lpstr>PowerPoint Presentation</vt:lpstr>
      <vt:lpstr>SCOPE</vt:lpstr>
      <vt:lpstr>METHODOLOGY</vt:lpstr>
      <vt:lpstr>METHODOLOGY</vt:lpstr>
      <vt:lpstr>WEBSCRAPING LEARNINGS</vt:lpstr>
      <vt:lpstr>PowerPoint Presentation</vt:lpstr>
      <vt:lpstr>PowerPoint Presentation</vt:lpstr>
      <vt:lpstr>EXPLORATORY DATA ANALYSIS</vt:lpstr>
      <vt:lpstr>Word cloud for ‘cars+trucks’</vt:lpstr>
      <vt:lpstr>ANALYSIS</vt:lpstr>
      <vt:lpstr>PowerPoint Presentation</vt:lpstr>
      <vt:lpstr>PowerPoint Presentation</vt:lpstr>
      <vt:lpstr>PowerPoint Presentation</vt:lpstr>
      <vt:lpstr>PowerPoint Presentation</vt:lpstr>
      <vt:lpstr>TOPIC MODELING - LDA</vt:lpstr>
      <vt:lpstr>TOPIC MODELING - LDA</vt:lpstr>
      <vt:lpstr>PowerPoint Presentation</vt:lpstr>
      <vt:lpstr>CONCLUSION AND RECOMMENDATION</vt:lpstr>
      <vt:lpstr>CONCLUSION</vt:lpstr>
      <vt:lpstr>RECOMMENDATION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mal, Varun</dc:creator>
  <cp:lastModifiedBy>Sheth, Parth Dilip</cp:lastModifiedBy>
  <cp:revision>3</cp:revision>
  <dcterms:created xsi:type="dcterms:W3CDTF">2022-11-16T16:38:07Z</dcterms:created>
  <dcterms:modified xsi:type="dcterms:W3CDTF">2023-01-13T23:4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044bd30-2ed7-4c9d-9d12-46200872a97b_Enabled">
    <vt:lpwstr>true</vt:lpwstr>
  </property>
  <property fmtid="{D5CDD505-2E9C-101B-9397-08002B2CF9AE}" pid="3" name="MSIP_Label_4044bd30-2ed7-4c9d-9d12-46200872a97b_SetDate">
    <vt:lpwstr>2022-12-05T11:44:03Z</vt:lpwstr>
  </property>
  <property fmtid="{D5CDD505-2E9C-101B-9397-08002B2CF9AE}" pid="4" name="MSIP_Label_4044bd30-2ed7-4c9d-9d12-46200872a97b_Method">
    <vt:lpwstr>Standard</vt:lpwstr>
  </property>
  <property fmtid="{D5CDD505-2E9C-101B-9397-08002B2CF9AE}" pid="5" name="MSIP_Label_4044bd30-2ed7-4c9d-9d12-46200872a97b_Name">
    <vt:lpwstr>defa4170-0d19-0005-0004-bc88714345d2</vt:lpwstr>
  </property>
  <property fmtid="{D5CDD505-2E9C-101B-9397-08002B2CF9AE}" pid="6" name="MSIP_Label_4044bd30-2ed7-4c9d-9d12-46200872a97b_SiteId">
    <vt:lpwstr>4130bd39-7c53-419c-b1e5-8758d6d63f21</vt:lpwstr>
  </property>
  <property fmtid="{D5CDD505-2E9C-101B-9397-08002B2CF9AE}" pid="7" name="MSIP_Label_4044bd30-2ed7-4c9d-9d12-46200872a97b_ActionId">
    <vt:lpwstr>c2f39232-932b-4f48-9045-f5bc946cda6b</vt:lpwstr>
  </property>
  <property fmtid="{D5CDD505-2E9C-101B-9397-08002B2CF9AE}" pid="8" name="MSIP_Label_4044bd30-2ed7-4c9d-9d12-46200872a97b_ContentBits">
    <vt:lpwstr>0</vt:lpwstr>
  </property>
</Properties>
</file>